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2" r:id="rId2"/>
    <p:sldMasterId id="2147483730" r:id="rId3"/>
    <p:sldMasterId id="2147483772" r:id="rId4"/>
  </p:sldMasterIdLst>
  <p:notesMasterIdLst>
    <p:notesMasterId r:id="rId42"/>
  </p:notesMasterIdLst>
  <p:handoutMasterIdLst>
    <p:handoutMasterId r:id="rId43"/>
  </p:handoutMasterIdLst>
  <p:sldIdLst>
    <p:sldId id="2147481276" r:id="rId5"/>
    <p:sldId id="309" r:id="rId6"/>
    <p:sldId id="2147481295" r:id="rId7"/>
    <p:sldId id="2147481297" r:id="rId8"/>
    <p:sldId id="2147474039" r:id="rId9"/>
    <p:sldId id="2147481311" r:id="rId10"/>
    <p:sldId id="2147481312" r:id="rId11"/>
    <p:sldId id="2147481313" r:id="rId12"/>
    <p:sldId id="2147481307" r:id="rId13"/>
    <p:sldId id="2147481298" r:id="rId14"/>
    <p:sldId id="2147481304" r:id="rId15"/>
    <p:sldId id="2147481305" r:id="rId16"/>
    <p:sldId id="2147481306" r:id="rId17"/>
    <p:sldId id="2147481299" r:id="rId18"/>
    <p:sldId id="2147481308" r:id="rId19"/>
    <p:sldId id="2147481309" r:id="rId20"/>
    <p:sldId id="2147481310" r:id="rId21"/>
    <p:sldId id="265" r:id="rId22"/>
    <p:sldId id="264" r:id="rId23"/>
    <p:sldId id="266" r:id="rId24"/>
    <p:sldId id="271" r:id="rId25"/>
    <p:sldId id="270" r:id="rId26"/>
    <p:sldId id="267" r:id="rId27"/>
    <p:sldId id="268" r:id="rId28"/>
    <p:sldId id="2147481300" r:id="rId29"/>
    <p:sldId id="334" r:id="rId30"/>
    <p:sldId id="341" r:id="rId31"/>
    <p:sldId id="346" r:id="rId32"/>
    <p:sldId id="342" r:id="rId33"/>
    <p:sldId id="343" r:id="rId34"/>
    <p:sldId id="345" r:id="rId35"/>
    <p:sldId id="347" r:id="rId36"/>
    <p:sldId id="348" r:id="rId37"/>
    <p:sldId id="2147481301" r:id="rId38"/>
    <p:sldId id="324" r:id="rId39"/>
    <p:sldId id="2147481302" r:id="rId40"/>
    <p:sldId id="258" r:id="rId41"/>
  </p:sldIdLst>
  <p:sldSz cx="12192000" cy="6858000"/>
  <p:notesSz cx="6797675" cy="9872663"/>
  <p:defaultTextStyle>
    <a:defPPr>
      <a:defRPr lang="fr-FR"/>
    </a:defPPr>
    <a:lvl1pPr marL="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95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EAEC0D-8388-DA4E-BC2B-61AFEE5AED1D}" v="1" dt="2026-04-30T10:38:33.7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3"/>
    <p:restoredTop sz="92857" autoAdjust="0"/>
  </p:normalViewPr>
  <p:slideViewPr>
    <p:cSldViewPr snapToGrid="0">
      <p:cViewPr varScale="1">
        <p:scale>
          <a:sx n="114" d="100"/>
          <a:sy n="114" d="100"/>
        </p:scale>
        <p:origin x="116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968" y="15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375CCC8-76B7-5D14-125A-75C90DF290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8D2899B-6428-4667-86EA-8FC1F9D4B1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7374C-CEBC-F44E-A3F4-4B2546A35D16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55D30EF-3F3C-366C-AFD6-F4B46846D50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47674EB-8DE9-19E1-2EF2-B55C0B6EC7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8E82C7-43A0-3040-AE5E-3E9B6C6F446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33621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3110" userDrawn="1">
          <p15:clr>
            <a:srgbClr val="F26B43"/>
          </p15:clr>
        </p15:guide>
        <p15:guide id="2" pos="214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81307-C4C3-4D49-8D7F-512650E647A2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51220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BFA99-13E0-D444-9869-B0FA17D741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546186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B1CD7-0FDA-4C7B-9E20-94702B069A9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3017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0BFA99-13E0-D444-9869-B0FA17D74132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64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0BFA99-13E0-D444-9869-B0FA17D74132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1635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0BFA99-13E0-D444-9869-B0FA17D74132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871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Action Logement (66.000 m2 / 19 opérations)</a:t>
            </a:r>
          </a:p>
          <a:p>
            <a:r>
              <a:rPr lang="fr-FR" dirty="0"/>
              <a:t>CDC-Habitat (104.000 m2 / 18 opérations)</a:t>
            </a:r>
          </a:p>
          <a:p>
            <a:r>
              <a:rPr lang="fr-FR" dirty="0"/>
              <a:t>Elogie-</a:t>
            </a:r>
            <a:r>
              <a:rPr lang="fr-FR" dirty="0" err="1"/>
              <a:t>Siemp</a:t>
            </a:r>
            <a:r>
              <a:rPr lang="fr-FR" dirty="0"/>
              <a:t> (45.000 m2 / 33 opérations)</a:t>
            </a:r>
          </a:p>
          <a:p>
            <a:r>
              <a:rPr lang="fr-FR" dirty="0"/>
              <a:t>Paris Habitat (218.000 m2 / 33 opérations)</a:t>
            </a:r>
          </a:p>
          <a:p>
            <a:r>
              <a:rPr lang="fr-FR" dirty="0"/>
              <a:t>RIVP (39.000 m2 / 13 opérations)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BFA99-13E0-D444-9869-B0FA17D74132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3011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1530A-1CA6-42CF-AD26-76E15D5493F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322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8.sv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2.png"/><Relationship Id="rId4" Type="http://schemas.openxmlformats.org/officeDocument/2006/relationships/image" Target="../media/image2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9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3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C172CC-AA9E-A1AB-D22D-4B98051894FB}"/>
              </a:ext>
            </a:extLst>
          </p:cNvPr>
          <p:cNvSpPr/>
          <p:nvPr userDrawn="1"/>
        </p:nvSpPr>
        <p:spPr>
          <a:xfrm>
            <a:off x="0" y="5274666"/>
            <a:ext cx="12292014" cy="163631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AA78A0A-04B8-5C2E-2CAF-A3A3727299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2301391"/>
            <a:ext cx="9144000" cy="239219"/>
          </a:xfrm>
        </p:spPr>
        <p:txBody>
          <a:bodyPr>
            <a:normAutofit/>
          </a:bodyPr>
          <a:lstStyle>
            <a:lvl1pPr marL="0" indent="0" algn="l">
              <a:buNone/>
              <a:defRPr sz="1999" spc="80" baseline="0">
                <a:solidFill>
                  <a:schemeClr val="accent1"/>
                </a:solidFill>
              </a:defRPr>
            </a:lvl1pPr>
            <a:lvl2pPr marL="457120" indent="0" algn="ctr">
              <a:buNone/>
              <a:defRPr sz="1999"/>
            </a:lvl2pPr>
            <a:lvl3pPr marL="914242" indent="0" algn="ctr">
              <a:buNone/>
              <a:defRPr sz="1800"/>
            </a:lvl3pPr>
            <a:lvl4pPr marL="1371362" indent="0" algn="ctr">
              <a:buNone/>
              <a:defRPr sz="1600"/>
            </a:lvl4pPr>
            <a:lvl5pPr marL="1828484" indent="0" algn="ctr">
              <a:buNone/>
              <a:defRPr sz="1600"/>
            </a:lvl5pPr>
            <a:lvl6pPr marL="2285607" indent="0" algn="ctr">
              <a:buNone/>
              <a:defRPr sz="1600"/>
            </a:lvl6pPr>
            <a:lvl7pPr marL="2742723" indent="0" algn="ctr">
              <a:buNone/>
              <a:defRPr sz="1600"/>
            </a:lvl7pPr>
            <a:lvl8pPr marL="3199842" indent="0" algn="ctr">
              <a:buNone/>
              <a:defRPr sz="1600"/>
            </a:lvl8pPr>
            <a:lvl9pPr marL="3656962" indent="0" algn="ctr">
              <a:buNone/>
              <a:defRPr sz="1600"/>
            </a:lvl9pPr>
          </a:lstStyle>
          <a:p>
            <a:r>
              <a:rPr lang="fr-FR"/>
              <a:t>SOUS-TITRE EN CAPITALES</a:t>
            </a: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65178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bg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BD498531-0240-A5F8-9AE7-64949347C8FC}"/>
              </a:ext>
            </a:extLst>
          </p:cNvPr>
          <p:cNvCxnSpPr/>
          <p:nvPr userDrawn="1"/>
        </p:nvCxnSpPr>
        <p:spPr>
          <a:xfrm>
            <a:off x="550864" y="2114644"/>
            <a:ext cx="338714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2265F8CD-CA79-B69A-CD76-590ED195DF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2727350"/>
            <a:ext cx="2743200" cy="1813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99" b="0" i="0">
                <a:solidFill>
                  <a:schemeClr val="bg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273109F9-6FEC-CF42-B3A8-9A567BE9B188}" type="datetime4">
              <a:rPr lang="fr-FR" smtClean="0"/>
              <a:pPr/>
              <a:t>30 avril 2026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3685A1-618A-CD8B-F907-5E835736308F}"/>
              </a:ext>
            </a:extLst>
          </p:cNvPr>
          <p:cNvSpPr/>
          <p:nvPr userDrawn="1"/>
        </p:nvSpPr>
        <p:spPr>
          <a:xfrm>
            <a:off x="-10823" y="4292175"/>
            <a:ext cx="12242012" cy="92951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 descr="Une image contenant capture d’écran, gris, motif, tissu&#10;&#10;Description générée automatiquement">
            <a:extLst>
              <a:ext uri="{FF2B5EF4-FFF2-40B4-BE49-F238E27FC236}">
                <a16:creationId xmlns:a16="http://schemas.microsoft.com/office/drawing/2014/main" id="{8C33E74E-612B-C43F-FF96-E54D96DA5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823" y="4292175"/>
            <a:ext cx="12424717" cy="2623891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9C273DC-053C-A910-EF58-C68698BD777C}"/>
              </a:ext>
            </a:extLst>
          </p:cNvPr>
          <p:cNvCxnSpPr/>
          <p:nvPr userDrawn="1"/>
        </p:nvCxnSpPr>
        <p:spPr>
          <a:xfrm>
            <a:off x="-117566" y="5233310"/>
            <a:ext cx="12409580" cy="0"/>
          </a:xfrm>
          <a:prstGeom prst="line">
            <a:avLst/>
          </a:prstGeom>
          <a:ln w="889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Image 19" descr="Une image contenant texte, logo, Graphique, Police&#10;&#10;Description générée automatiquement">
            <a:extLst>
              <a:ext uri="{FF2B5EF4-FFF2-40B4-BE49-F238E27FC236}">
                <a16:creationId xmlns:a16="http://schemas.microsoft.com/office/drawing/2014/main" id="{2709B0C5-2B94-2738-435A-BBB7E0CDB4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3939" y="2616778"/>
            <a:ext cx="3288651" cy="33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093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24"/>
            <a:ext cx="8280839" cy="33126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6A556FE0-7A55-43CC-F2E7-1AB90C76C98E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3379791" y="4848183"/>
            <a:ext cx="1263332" cy="146055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graphique 5">
            <a:extLst>
              <a:ext uri="{FF2B5EF4-FFF2-40B4-BE49-F238E27FC236}">
                <a16:creationId xmlns:a16="http://schemas.microsoft.com/office/drawing/2014/main" id="{348A2BC9-C421-0425-EF96-37127C55DB6B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4720911" y="4848183"/>
            <a:ext cx="1263332" cy="146055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9DD4C994-ECE7-69E2-A809-0F98CE8D8BE3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6E089470-792E-DA85-A624-46F703ED89C0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214DA7DA-4D01-CF62-9418-638BDAE9F30E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7" name="Espace réservé du contenu 5">
            <a:extLst>
              <a:ext uri="{FF2B5EF4-FFF2-40B4-BE49-F238E27FC236}">
                <a16:creationId xmlns:a16="http://schemas.microsoft.com/office/drawing/2014/main" id="{C72B3403-A0B2-76E8-7BFD-A48BD937717C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AACB761F-AB4F-FC54-3ED9-4BD3E978D5A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7" name="Espace réservé du texte 30">
            <a:extLst>
              <a:ext uri="{FF2B5EF4-FFF2-40B4-BE49-F238E27FC236}">
                <a16:creationId xmlns:a16="http://schemas.microsoft.com/office/drawing/2014/main" id="{029FE45A-650F-253E-6EE7-D38C3C6861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144DB9E-AD68-251F-2E25-6B9C13E742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8F33EE1A-D5EF-AF35-B25B-5A92047153F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7226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2" name="Espace réservé du numéro de diapositive 18">
            <a:extLst>
              <a:ext uri="{FF2B5EF4-FFF2-40B4-BE49-F238E27FC236}">
                <a16:creationId xmlns:a16="http://schemas.microsoft.com/office/drawing/2014/main" id="{C4BAEEC8-7475-F137-741B-19C3859ACE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8FB07E0E-891A-AB40-DE6F-D3D0A7CE39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26384E4-CA22-5758-0840-9498C82774EE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A7C5622-E564-2496-1D3C-96D7185428F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70061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3E5EC777-6CB8-8B52-1547-0AC01E07F59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0271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44CE4ED1-3770-05A3-F5DD-B05CFC71BD7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05548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26024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onnes +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7" y="774217"/>
            <a:ext cx="8281987" cy="365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C5A25F03-C807-7BC8-822D-BC5382B6CBB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28314" y="1881178"/>
            <a:ext cx="2612832" cy="4427545"/>
          </a:xfrm>
        </p:spPr>
        <p:txBody>
          <a:bodyPr/>
          <a:lstStyle>
            <a:lvl1pPr marL="12600" indent="0">
              <a:spcBef>
                <a:spcPts val="0"/>
              </a:spcBef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B65A055A-C6DA-FA5A-2D7D-5B9FCE00E91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50867" y="1881188"/>
            <a:ext cx="8281987" cy="4427544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E4B092F8-9D49-6A1F-9335-A640B1FCAE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B74F6A6-0AEC-552B-3A0D-371CE92618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8" name="Espace réservé du numéro de diapositive 18">
            <a:extLst>
              <a:ext uri="{FF2B5EF4-FFF2-40B4-BE49-F238E27FC236}">
                <a16:creationId xmlns:a16="http://schemas.microsoft.com/office/drawing/2014/main" id="{0D7BED63-B2C3-8915-E376-EF4E9EB371D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3F716B07-4114-FA20-6BDD-3CAEC043B4FC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1376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89256B-681A-CFFA-54F6-D7132AE52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8" y="765179"/>
            <a:ext cx="5545137" cy="408147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6" name="Espace réservé du texte 30">
            <a:extLst>
              <a:ext uri="{FF2B5EF4-FFF2-40B4-BE49-F238E27FC236}">
                <a16:creationId xmlns:a16="http://schemas.microsoft.com/office/drawing/2014/main" id="{10F1A3A1-C841-8AF5-E357-1476940C24A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8741B4F-6A2F-D3B9-A20C-8AAD2E2744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56452737-72F9-77C6-F7EA-8703207C748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B411B0E-479C-7411-28B1-15DAB96BAB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5422" y="780499"/>
            <a:ext cx="5428848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 de plusieurs lign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969FF372-CF21-F4F2-31FE-87FD0E8CB440}"/>
              </a:ext>
            </a:extLst>
          </p:cNvPr>
          <p:cNvCxnSpPr>
            <a:cxnSpLocks/>
          </p:cNvCxnSpPr>
          <p:nvPr userDrawn="1"/>
        </p:nvCxnSpPr>
        <p:spPr>
          <a:xfrm>
            <a:off x="9013710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39676FF-E87F-943E-A583-BDF94E3D98C6}"/>
              </a:ext>
            </a:extLst>
          </p:cNvPr>
          <p:cNvCxnSpPr>
            <a:cxnSpLocks/>
          </p:cNvCxnSpPr>
          <p:nvPr userDrawn="1"/>
        </p:nvCxnSpPr>
        <p:spPr>
          <a:xfrm>
            <a:off x="6215426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989B73D9-7D7B-DBF4-C898-2567D4DD0F7D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6215430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CAF9E003-1882-3BDB-AD55-8D30BF93A5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15542" y="2624838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CA062585-8423-9650-7242-9A2183120A0F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902820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9BE265CC-FF9A-D50A-0082-F4ECD67534F5}"/>
              </a:ext>
            </a:extLst>
          </p:cNvPr>
          <p:cNvCxnSpPr>
            <a:cxnSpLocks/>
          </p:cNvCxnSpPr>
          <p:nvPr userDrawn="1"/>
        </p:nvCxnSpPr>
        <p:spPr>
          <a:xfrm>
            <a:off x="9013710" y="3951377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51FF9E74-A94F-4F23-F87F-156A2AD96870}"/>
              </a:ext>
            </a:extLst>
          </p:cNvPr>
          <p:cNvCxnSpPr>
            <a:cxnSpLocks/>
          </p:cNvCxnSpPr>
          <p:nvPr userDrawn="1"/>
        </p:nvCxnSpPr>
        <p:spPr>
          <a:xfrm>
            <a:off x="6215426" y="3951377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Espace réservé du contenu 5">
            <a:extLst>
              <a:ext uri="{FF2B5EF4-FFF2-40B4-BE49-F238E27FC236}">
                <a16:creationId xmlns:a16="http://schemas.microsoft.com/office/drawing/2014/main" id="{5E61C61E-EAA5-9422-451D-A18F090120E8}"/>
              </a:ext>
            </a:extLst>
          </p:cNvPr>
          <p:cNvSpPr>
            <a:spLocks noGrp="1" noChangeAspect="1"/>
          </p:cNvSpPr>
          <p:nvPr>
            <p:ph sz="quarter" idx="64" hasCustomPrompt="1"/>
          </p:nvPr>
        </p:nvSpPr>
        <p:spPr>
          <a:xfrm>
            <a:off x="6215430" y="3354107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4" name="Espace réservé du contenu 5">
            <a:extLst>
              <a:ext uri="{FF2B5EF4-FFF2-40B4-BE49-F238E27FC236}">
                <a16:creationId xmlns:a16="http://schemas.microsoft.com/office/drawing/2014/main" id="{3C84C1C2-F825-E1E2-5564-8D006733BA4B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9028205" y="3354107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3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EC785420-6091-D0BD-469E-7254454C1B4E}"/>
              </a:ext>
            </a:extLst>
          </p:cNvPr>
          <p:cNvCxnSpPr>
            <a:cxnSpLocks/>
          </p:cNvCxnSpPr>
          <p:nvPr userDrawn="1"/>
        </p:nvCxnSpPr>
        <p:spPr>
          <a:xfrm>
            <a:off x="9013710" y="5421831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F04D6792-A2A6-35DB-08B8-4FA9926164A1}"/>
              </a:ext>
            </a:extLst>
          </p:cNvPr>
          <p:cNvCxnSpPr>
            <a:cxnSpLocks/>
          </p:cNvCxnSpPr>
          <p:nvPr userDrawn="1"/>
        </p:nvCxnSpPr>
        <p:spPr>
          <a:xfrm>
            <a:off x="6215426" y="5421831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Espace réservé du contenu 5">
            <a:extLst>
              <a:ext uri="{FF2B5EF4-FFF2-40B4-BE49-F238E27FC236}">
                <a16:creationId xmlns:a16="http://schemas.microsoft.com/office/drawing/2014/main" id="{92ABB17A-D84A-86B8-B22B-ACB4E4BA53CB}"/>
              </a:ext>
            </a:extLst>
          </p:cNvPr>
          <p:cNvSpPr>
            <a:spLocks noGrp="1" noChangeAspect="1"/>
          </p:cNvSpPr>
          <p:nvPr>
            <p:ph sz="quarter" idx="68" hasCustomPrompt="1"/>
          </p:nvPr>
        </p:nvSpPr>
        <p:spPr>
          <a:xfrm>
            <a:off x="6215430" y="482456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66" name="Espace réservé du contenu 5">
            <a:extLst>
              <a:ext uri="{FF2B5EF4-FFF2-40B4-BE49-F238E27FC236}">
                <a16:creationId xmlns:a16="http://schemas.microsoft.com/office/drawing/2014/main" id="{3B43CA98-0A58-598C-D210-DACEEDD6EF55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9028205" y="482456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6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06CE3CCD-C86E-5D71-0227-D77C40A6DA2B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Espace réservé du numéro de diapositive 18">
            <a:extLst>
              <a:ext uri="{FF2B5EF4-FFF2-40B4-BE49-F238E27FC236}">
                <a16:creationId xmlns:a16="http://schemas.microsoft.com/office/drawing/2014/main" id="{130211CA-1AE6-2EF6-7F11-10AE49FD6944}"/>
              </a:ext>
            </a:extLst>
          </p:cNvPr>
          <p:cNvSpPr txBox="1">
            <a:spLocks/>
          </p:cNvSpPr>
          <p:nvPr userDrawn="1"/>
        </p:nvSpPr>
        <p:spPr>
          <a:xfrm>
            <a:off x="8897937" y="248487"/>
            <a:ext cx="2743200" cy="1686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b="0" i="0" kern="120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381681-318F-F34D-BC07-1902CF377D87}" type="slidenum">
              <a:rPr lang="fr-FR" sz="1199" smtClean="0"/>
              <a:pPr/>
              <a:t>‹N°›</a:t>
            </a:fld>
            <a:endParaRPr lang="fr-FR" sz="1199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33F71097-CEC6-452E-DC9E-0781698C70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3" y="1889131"/>
            <a:ext cx="5534949" cy="4429239"/>
          </a:xfrm>
        </p:spPr>
        <p:txBody>
          <a:bodyPr numCol="1" spcCol="288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 (à supprimer si pas utile)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  <a:p>
            <a:pPr lvl="0"/>
            <a:endParaRPr lang="fr-FR" dirty="0">
              <a:effectLst/>
            </a:endParaRP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4BC6E7B7-2937-DEE2-ECDD-A4ACFE9670F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018376" y="2624838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ACB2A374-19CF-B32C-8EF7-83C245E8582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15542" y="4066014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2F615F25-4215-472D-FD1D-9C15BE3C68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018376" y="4066014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6FFBC866-8873-59CB-3FC7-03B23C040417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15542" y="5537006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20322F6A-05E9-D3FE-0253-5A441F535EC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018376" y="5537006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960279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 userDrawn="1">
          <p15:clr>
            <a:srgbClr val="FBAE40"/>
          </p15:clr>
        </p15:guide>
        <p15:guide id="2" pos="390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74215"/>
            <a:ext cx="8288296" cy="3455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38519225-4F91-4BAC-7E47-26F159F3974C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0867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68E207E4-A7E0-CAB5-D858-779D47D79E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865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BA9C8545-9CC7-016B-0E35-51E501092C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FC53E5F-44E4-219E-4C96-602233DD9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pour une image  5">
            <a:extLst>
              <a:ext uri="{FF2B5EF4-FFF2-40B4-BE49-F238E27FC236}">
                <a16:creationId xmlns:a16="http://schemas.microsoft.com/office/drawing/2014/main" id="{CE64B3F0-DBC3-3D86-BC97-5F2FB87A7C4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380563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6" name="Espace réservé pour une image  5">
            <a:extLst>
              <a:ext uri="{FF2B5EF4-FFF2-40B4-BE49-F238E27FC236}">
                <a16:creationId xmlns:a16="http://schemas.microsoft.com/office/drawing/2014/main" id="{CC401591-9393-8D9D-D018-02FECAD88EA0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6210259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8B6D54C1-ADF8-AF23-2E69-C3A62618F05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21E88F4E-32DF-606F-13DD-2AA1F8B1AB4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76569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4106ED-2418-E46B-4154-B656FBD01F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18382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4B22E1AD-ABD9-71F4-3366-D2A34BD5B3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15369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 dirty="0">
                <a:effectLst/>
              </a:rPr>
              <a:t>Légende</a:t>
            </a:r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A867CE-C1FB-7C72-D75A-A348ADA52CF9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numéro de diapositive 18">
            <a:extLst>
              <a:ext uri="{FF2B5EF4-FFF2-40B4-BE49-F238E27FC236}">
                <a16:creationId xmlns:a16="http://schemas.microsoft.com/office/drawing/2014/main" id="{0569A7DB-05F6-FB97-F310-ED3B6235B34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pour une image  5">
            <a:extLst>
              <a:ext uri="{FF2B5EF4-FFF2-40B4-BE49-F238E27FC236}">
                <a16:creationId xmlns:a16="http://schemas.microsoft.com/office/drawing/2014/main" id="{3FE82BBB-BC6A-5053-62BE-2286ACC8E22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002887" y="3637734"/>
            <a:ext cx="2628901" cy="16101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Dans le cas de 2 images</a:t>
            </a:r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CB8373C7-C24B-0157-5FD9-A509E2A72F6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9002887" y="1888447"/>
            <a:ext cx="2628901" cy="16101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Dans le cas de 2 images</a:t>
            </a:r>
          </a:p>
        </p:txBody>
      </p:sp>
    </p:spTree>
    <p:extLst>
      <p:ext uri="{BB962C8B-B14F-4D97-AF65-F5344CB8AC3E}">
        <p14:creationId xmlns:p14="http://schemas.microsoft.com/office/powerpoint/2010/main" val="118377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72716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5" name="Espace réservé du titre 13">
            <a:extLst>
              <a:ext uri="{FF2B5EF4-FFF2-40B4-BE49-F238E27FC236}">
                <a16:creationId xmlns:a16="http://schemas.microsoft.com/office/drawing/2014/main" id="{6FF141B6-0D98-DC95-C12A-FED2AB4CE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74215"/>
            <a:ext cx="8288296" cy="3455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FAA88B41-F098-8A25-86D5-39AB7166C38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pour une image  5">
            <a:extLst>
              <a:ext uri="{FF2B5EF4-FFF2-40B4-BE49-F238E27FC236}">
                <a16:creationId xmlns:a16="http://schemas.microsoft.com/office/drawing/2014/main" id="{4CA9BB6A-3C5E-53AC-FD7D-20D4FE3D453B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0867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619A53B5-ED28-3A35-A6B3-901715E1BC8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865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BE50372D-4296-05D8-6AB9-72FAAB5679D7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317798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3685BC33-6169-E6F0-F4EF-A5E45F20A3A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17796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4" name="Espace réservé pour une image  5">
            <a:extLst>
              <a:ext uri="{FF2B5EF4-FFF2-40B4-BE49-F238E27FC236}">
                <a16:creationId xmlns:a16="http://schemas.microsoft.com/office/drawing/2014/main" id="{736C4C17-DFE9-FB5F-7CA8-858EE42145FC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8074789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37D12695-3103-A26F-F5EB-D7FD1E82B1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074787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9755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29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774215"/>
            <a:ext cx="8580800" cy="6986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28" name="Espace réservé du texte 3">
            <a:extLst>
              <a:ext uri="{FF2B5EF4-FFF2-40B4-BE49-F238E27FC236}">
                <a16:creationId xmlns:a16="http://schemas.microsoft.com/office/drawing/2014/main" id="{656AAE18-1289-1EE5-7296-BADB6F0524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78013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EBD55200-78B5-4787-6D82-6510F332B84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58886" y="1905868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Portrait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DB4DD478-A941-56C7-DE6E-047CF0D7AF1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78013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635E080-179C-D732-139D-AF09B4544CC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78013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F9DC614A-0DAF-6720-2841-861B493CB16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581704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41" name="Espace réservé pour une image  6">
            <a:extLst>
              <a:ext uri="{FF2B5EF4-FFF2-40B4-BE49-F238E27FC236}">
                <a16:creationId xmlns:a16="http://schemas.microsoft.com/office/drawing/2014/main" id="{B32E5ABC-BB99-EA81-2765-3E65E9AA4940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8886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Portrait</a:t>
            </a:r>
          </a:p>
        </p:txBody>
      </p:sp>
      <p:sp>
        <p:nvSpPr>
          <p:cNvPr id="42" name="Espace réservé pour une image  6">
            <a:extLst>
              <a:ext uri="{FF2B5EF4-FFF2-40B4-BE49-F238E27FC236}">
                <a16:creationId xmlns:a16="http://schemas.microsoft.com/office/drawing/2014/main" id="{3B65C6D4-DDD6-B350-71D7-A4BFE7321BA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558886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43" name="Espace réservé pour une image  6">
            <a:extLst>
              <a:ext uri="{FF2B5EF4-FFF2-40B4-BE49-F238E27FC236}">
                <a16:creationId xmlns:a16="http://schemas.microsoft.com/office/drawing/2014/main" id="{F08A1CE5-4CDB-CE6D-770E-7DCCD178E582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558886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54" name="Espace réservé du texte 3">
            <a:extLst>
              <a:ext uri="{FF2B5EF4-FFF2-40B4-BE49-F238E27FC236}">
                <a16:creationId xmlns:a16="http://schemas.microsoft.com/office/drawing/2014/main" id="{96631AAB-D9DE-CFC4-E037-3BA92A1FBD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01390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55" name="Espace réservé pour une image  6">
            <a:extLst>
              <a:ext uri="{FF2B5EF4-FFF2-40B4-BE49-F238E27FC236}">
                <a16:creationId xmlns:a16="http://schemas.microsoft.com/office/drawing/2014/main" id="{8B741B9A-EB9B-0547-C894-E2EA2B3130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376877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57" name="Espace réservé du texte 3">
            <a:extLst>
              <a:ext uri="{FF2B5EF4-FFF2-40B4-BE49-F238E27FC236}">
                <a16:creationId xmlns:a16="http://schemas.microsoft.com/office/drawing/2014/main" id="{4A53AA8B-3733-EA6E-E727-7FF224B1A29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04026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59" name="Espace réservé du texte 3">
            <a:extLst>
              <a:ext uri="{FF2B5EF4-FFF2-40B4-BE49-F238E27FC236}">
                <a16:creationId xmlns:a16="http://schemas.microsoft.com/office/drawing/2014/main" id="{4A4E8B2F-489B-FD43-4C08-646EB5D5ED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01390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61" name="Espace réservé du texte 3">
            <a:extLst>
              <a:ext uri="{FF2B5EF4-FFF2-40B4-BE49-F238E27FC236}">
                <a16:creationId xmlns:a16="http://schemas.microsoft.com/office/drawing/2014/main" id="{6A367C62-9AD0-E456-031D-61B7E0D1D70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01385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63" name="Espace réservé pour une image  6">
            <a:extLst>
              <a:ext uri="{FF2B5EF4-FFF2-40B4-BE49-F238E27FC236}">
                <a16:creationId xmlns:a16="http://schemas.microsoft.com/office/drawing/2014/main" id="{BEAF14D2-BD70-F49F-B647-64E33228BF8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376877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4" name="Espace réservé pour une image  6">
            <a:extLst>
              <a:ext uri="{FF2B5EF4-FFF2-40B4-BE49-F238E27FC236}">
                <a16:creationId xmlns:a16="http://schemas.microsoft.com/office/drawing/2014/main" id="{D406F63E-CC3D-8BE0-BC47-B9F01F3B844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3376877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5" name="Espace réservé pour une image  6">
            <a:extLst>
              <a:ext uri="{FF2B5EF4-FFF2-40B4-BE49-F238E27FC236}">
                <a16:creationId xmlns:a16="http://schemas.microsoft.com/office/drawing/2014/main" id="{9F0CF30E-B718-CE20-380C-C0F8F2478DCC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3376877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7" name="Espace réservé du texte 3">
            <a:extLst>
              <a:ext uri="{FF2B5EF4-FFF2-40B4-BE49-F238E27FC236}">
                <a16:creationId xmlns:a16="http://schemas.microsoft.com/office/drawing/2014/main" id="{CA0CB3BD-9114-DC04-E048-D0E83453CC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237409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68" name="Espace réservé pour une image  6">
            <a:extLst>
              <a:ext uri="{FF2B5EF4-FFF2-40B4-BE49-F238E27FC236}">
                <a16:creationId xmlns:a16="http://schemas.microsoft.com/office/drawing/2014/main" id="{45CBFB80-76E0-ACAA-6B2A-344250CE44B0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6210262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0" name="Espace réservé du texte 3">
            <a:extLst>
              <a:ext uri="{FF2B5EF4-FFF2-40B4-BE49-F238E27FC236}">
                <a16:creationId xmlns:a16="http://schemas.microsoft.com/office/drawing/2014/main" id="{EA956D15-175F-C990-5079-1733124395A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37409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2" name="Espace réservé du texte 3">
            <a:extLst>
              <a:ext uri="{FF2B5EF4-FFF2-40B4-BE49-F238E27FC236}">
                <a16:creationId xmlns:a16="http://schemas.microsoft.com/office/drawing/2014/main" id="{71496CC2-8849-E445-5B98-4B849BB4052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37409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4" name="Espace réservé du texte 3">
            <a:extLst>
              <a:ext uri="{FF2B5EF4-FFF2-40B4-BE49-F238E27FC236}">
                <a16:creationId xmlns:a16="http://schemas.microsoft.com/office/drawing/2014/main" id="{3FDEAD65-DBE4-BBC5-11CF-1F9DBCF47EB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241099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76" name="Espace réservé pour une image  6">
            <a:extLst>
              <a:ext uri="{FF2B5EF4-FFF2-40B4-BE49-F238E27FC236}">
                <a16:creationId xmlns:a16="http://schemas.microsoft.com/office/drawing/2014/main" id="{A971147F-F77F-0822-F431-7BE0CE92E6D7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6210262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7" name="Espace réservé pour une image  6">
            <a:extLst>
              <a:ext uri="{FF2B5EF4-FFF2-40B4-BE49-F238E27FC236}">
                <a16:creationId xmlns:a16="http://schemas.microsoft.com/office/drawing/2014/main" id="{85BB6A9F-CCB1-02BA-E0D1-82CD3F10C44C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6210262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</p:txBody>
      </p:sp>
      <p:sp>
        <p:nvSpPr>
          <p:cNvPr id="78" name="Espace réservé pour une image  6">
            <a:extLst>
              <a:ext uri="{FF2B5EF4-FFF2-40B4-BE49-F238E27FC236}">
                <a16:creationId xmlns:a16="http://schemas.microsoft.com/office/drawing/2014/main" id="{254135E7-D7DC-1AA1-A5CF-1C022844D45B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6210262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9" name="Espace réservé du texte 3">
            <a:extLst>
              <a:ext uri="{FF2B5EF4-FFF2-40B4-BE49-F238E27FC236}">
                <a16:creationId xmlns:a16="http://schemas.microsoft.com/office/drawing/2014/main" id="{9F87F160-B0FF-A168-A193-D92011A6899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042390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80" name="Espace réservé pour une image  6">
            <a:extLst>
              <a:ext uri="{FF2B5EF4-FFF2-40B4-BE49-F238E27FC236}">
                <a16:creationId xmlns:a16="http://schemas.microsoft.com/office/drawing/2014/main" id="{533F38B8-A41A-D496-68EC-1A0780A1334B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9023265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82" name="Espace réservé du texte 3">
            <a:extLst>
              <a:ext uri="{FF2B5EF4-FFF2-40B4-BE49-F238E27FC236}">
                <a16:creationId xmlns:a16="http://schemas.microsoft.com/office/drawing/2014/main" id="{D5B42F00-3EB1-1124-02B2-5281DA7D12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0042390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84" name="Espace réservé du texte 3">
            <a:extLst>
              <a:ext uri="{FF2B5EF4-FFF2-40B4-BE49-F238E27FC236}">
                <a16:creationId xmlns:a16="http://schemas.microsoft.com/office/drawing/2014/main" id="{55B1C29F-C3D9-7DB9-2200-151C5113874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042390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86" name="Espace réservé du texte 3">
            <a:extLst>
              <a:ext uri="{FF2B5EF4-FFF2-40B4-BE49-F238E27FC236}">
                <a16:creationId xmlns:a16="http://schemas.microsoft.com/office/drawing/2014/main" id="{A8A741D3-1451-843E-66F2-256A8CAD9666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046081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89" name="Espace réservé pour une image  6">
            <a:extLst>
              <a:ext uri="{FF2B5EF4-FFF2-40B4-BE49-F238E27FC236}">
                <a16:creationId xmlns:a16="http://schemas.microsoft.com/office/drawing/2014/main" id="{AE31B084-3548-248C-4AB7-68F70D608A54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9023265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90" name="Espace réservé pour une image  6">
            <a:extLst>
              <a:ext uri="{FF2B5EF4-FFF2-40B4-BE49-F238E27FC236}">
                <a16:creationId xmlns:a16="http://schemas.microsoft.com/office/drawing/2014/main" id="{24118740-43E9-ED0A-D86F-BF703AB0BA17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9023265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93" name="Espace réservé pour une image  6">
            <a:extLst>
              <a:ext uri="{FF2B5EF4-FFF2-40B4-BE49-F238E27FC236}">
                <a16:creationId xmlns:a16="http://schemas.microsoft.com/office/drawing/2014/main" id="{65BFE635-7CE9-38E8-9E37-6F7CC0D6EF21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023265" y="3021503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E51B327-7EEE-C3E1-DE80-4517C13D2C3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577977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8C3008D3-8CD4-275E-4293-0D93D1DB90B9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4401385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46A61BC4-A7E5-2023-4386-87CDDFBB6F3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577977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E203BDC6-DE66-DE54-0E02-6ED882CB9974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401385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7AAE7F49-CDB2-B8CD-081C-4E08DEB41B47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7232817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F4923372-178C-AFB8-23F9-4425C7B78CF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7240841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3196FB84-6B1C-2C2E-21B0-71BB455C42C1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0040185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C897C63A-1317-3248-1A57-5D74C1C7115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0048209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917F602-25EE-0DCF-D463-23921FB5B2C4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7240841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D8DD32BC-B238-3259-31A8-8ACE14B8FDB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10048209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C38CACD-F52F-E0F1-E03F-3E31D725C13A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7240841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 dirty="0"/>
              <a:t>Rôl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7DB2C57B-5275-97F6-8FB5-F9A317B12E3A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10048209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5383AA3-31FE-3BFA-FBB2-C5DC1E233C17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4401389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21CD2F01-A256-E016-F660-CFB221ED7B22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4401389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0539009-343A-93BE-E48E-1A583BA00A2B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1577977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A5A22B45-C3C4-3791-DD14-BB8E426D64AF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1577977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5" name="Espace réservé du texte 30">
            <a:extLst>
              <a:ext uri="{FF2B5EF4-FFF2-40B4-BE49-F238E27FC236}">
                <a16:creationId xmlns:a16="http://schemas.microsoft.com/office/drawing/2014/main" id="{86CBF254-6B06-3C9D-9AFE-54CDCBD932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8821C3F1-404F-4CE6-F4F0-EB45FF606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6E42260D-7AF4-EB7B-F66E-8868E7A72B63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18">
            <a:extLst>
              <a:ext uri="{FF2B5EF4-FFF2-40B4-BE49-F238E27FC236}">
                <a16:creationId xmlns:a16="http://schemas.microsoft.com/office/drawing/2014/main" id="{11639636-6AD0-42A1-09BF-0DDDEB31C0D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927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  <p15:guide id="7" orient="horz" pos="1888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3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36EF331-3C0F-E4D8-DDD2-CBB86C9651B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44648" y="1889131"/>
            <a:ext cx="3515068" cy="4429239"/>
          </a:xfrm>
        </p:spPr>
        <p:txBody>
          <a:bodyPr numCol="1" spcCol="216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</p:txBody>
      </p:sp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778527"/>
            <a:ext cx="8580800" cy="4406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 </a:t>
            </a:r>
          </a:p>
        </p:txBody>
      </p:sp>
      <p:sp>
        <p:nvSpPr>
          <p:cNvPr id="5" name="Espace réservé du texte 24">
            <a:extLst>
              <a:ext uri="{FF2B5EF4-FFF2-40B4-BE49-F238E27FC236}">
                <a16:creationId xmlns:a16="http://schemas.microsoft.com/office/drawing/2014/main" id="{1891301C-D57F-98E3-4111-CFE7F3D696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89126"/>
            <a:ext cx="3565523" cy="773697"/>
          </a:xfrm>
          <a:solidFill>
            <a:schemeClr val="accent3">
              <a:lumMod val="20000"/>
              <a:lumOff val="80000"/>
            </a:schemeClr>
          </a:solidFill>
        </p:spPr>
        <p:txBody>
          <a:bodyPr wrap="square" lIns="180000" tIns="180000" rIns="180000" bIns="144000">
            <a:spAutoFit/>
          </a:bodyPr>
          <a:lstStyle>
            <a:lvl1pPr marL="0" indent="0">
              <a:spcBef>
                <a:spcPts val="2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451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20" indent="0">
              <a:buFontTx/>
              <a:buNone/>
              <a:defRPr/>
            </a:lvl2pPr>
            <a:lvl3pPr marL="914242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4" indent="0">
              <a:buFontTx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Ici texte d’exergue y compris sur plusieurs lignes</a:t>
            </a:r>
            <a:endParaRPr lang="fr-FR" dirty="0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CCDA6969-C277-ADD0-FCF4-53D4040BFB8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087980" y="1881199"/>
            <a:ext cx="3553167" cy="16198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52CB31-424E-A5B7-8550-6E2CF1DC07E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7980" y="3612137"/>
            <a:ext cx="3553167" cy="345517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4" name="Espace réservé pour une image  7">
            <a:extLst>
              <a:ext uri="{FF2B5EF4-FFF2-40B4-BE49-F238E27FC236}">
                <a16:creationId xmlns:a16="http://schemas.microsoft.com/office/drawing/2014/main" id="{E145B5D3-C021-0C6E-AFAA-656182BCDF4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087980" y="4228983"/>
            <a:ext cx="3553167" cy="16198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F443F88D-E06B-77EE-02A1-53F88BBDE7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75614" y="5959926"/>
            <a:ext cx="3565525" cy="345517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9" name="Espace réservé du texte 30">
            <a:extLst>
              <a:ext uri="{FF2B5EF4-FFF2-40B4-BE49-F238E27FC236}">
                <a16:creationId xmlns:a16="http://schemas.microsoft.com/office/drawing/2014/main" id="{243EF88F-FDB7-0DC1-F115-39ABC91E69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7B778A1-6E7F-ED9D-D091-3FF43D10F4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165D0AA2-7BA9-8646-D7ED-7C4FEC5C4C2F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18">
            <a:extLst>
              <a:ext uri="{FF2B5EF4-FFF2-40B4-BE49-F238E27FC236}">
                <a16:creationId xmlns:a16="http://schemas.microsoft.com/office/drawing/2014/main" id="{393F18C6-38C8-79C2-0D48-C7F9E71B63D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7C872019-0549-C6FE-4BB4-B70CD4E52C55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550863" y="5006879"/>
            <a:ext cx="3565525" cy="1298564"/>
          </a:xfrm>
          <a:ln w="12700">
            <a:solidFill>
              <a:schemeClr val="accent5"/>
            </a:solidFill>
          </a:ln>
        </p:spPr>
        <p:txBody>
          <a:bodyPr lIns="180000" tIns="180000" rIns="180000" bIns="144000">
            <a:normAutofit/>
          </a:bodyPr>
          <a:lstStyle>
            <a:lvl1pPr>
              <a:defRPr sz="1400"/>
            </a:lvl1pPr>
          </a:lstStyle>
          <a:p>
            <a:pPr lvl="0"/>
            <a:r>
              <a:rPr lang="fr-FR" dirty="0">
                <a:effectLst/>
              </a:rPr>
              <a:t>Encadré réservé aux éléments atypiques.  À caler en bas à gauche </a:t>
            </a:r>
            <a:br>
              <a:rPr lang="fr-FR" dirty="0">
                <a:effectLst/>
              </a:rPr>
            </a:br>
            <a:r>
              <a:rPr lang="fr-FR" dirty="0">
                <a:effectLst/>
              </a:rPr>
              <a:t>en règle générale (aligner le cadre sur </a:t>
            </a:r>
            <a:br>
              <a:rPr lang="fr-FR" dirty="0">
                <a:effectLst/>
              </a:rPr>
            </a:br>
            <a:r>
              <a:rPr lang="fr-FR" dirty="0">
                <a:effectLst/>
              </a:rPr>
              <a:t>le repère du bas en déplaçant le blo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8934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5087" userDrawn="1">
          <p15:clr>
            <a:srgbClr val="FBAE40"/>
          </p15:clr>
        </p15:guide>
        <p15:guide id="4" pos="4951" userDrawn="1">
          <p15:clr>
            <a:srgbClr val="FBAE40"/>
          </p15:clr>
        </p15:guide>
        <p15:guide id="7" orient="horz" pos="25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4 colon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CCDA6969-C277-ADD0-FCF4-53D4040BFB8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63226" y="1881190"/>
            <a:ext cx="3553167" cy="442753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03AC7514-D396-4005-FC63-4591015AC337}"/>
              </a:ext>
            </a:extLst>
          </p:cNvPr>
          <p:cNvCxnSpPr>
            <a:cxnSpLocks/>
          </p:cNvCxnSpPr>
          <p:nvPr userDrawn="1"/>
        </p:nvCxnSpPr>
        <p:spPr>
          <a:xfrm>
            <a:off x="4343719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B9F80D75-B99C-C075-E8FB-080F729DB4FA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4343719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sp>
        <p:nvSpPr>
          <p:cNvPr id="25" name="Espace réservé du contenu 5">
            <a:extLst>
              <a:ext uri="{FF2B5EF4-FFF2-40B4-BE49-F238E27FC236}">
                <a16:creationId xmlns:a16="http://schemas.microsoft.com/office/drawing/2014/main" id="{4DD4B2BB-206B-7968-EA64-A43A8683338A}"/>
              </a:ext>
            </a:extLst>
          </p:cNvPr>
          <p:cNvSpPr>
            <a:spLocks noGrp="1" noChangeAspect="1"/>
          </p:cNvSpPr>
          <p:nvPr>
            <p:ph sz="quarter" idx="48" hasCustomPrompt="1"/>
          </p:nvPr>
        </p:nvSpPr>
        <p:spPr>
          <a:xfrm>
            <a:off x="6210817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3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AF842A80-47BE-DC0E-0724-C56CBA1241E9}"/>
              </a:ext>
            </a:extLst>
          </p:cNvPr>
          <p:cNvCxnSpPr>
            <a:cxnSpLocks/>
          </p:cNvCxnSpPr>
          <p:nvPr userDrawn="1"/>
        </p:nvCxnSpPr>
        <p:spPr>
          <a:xfrm>
            <a:off x="6205569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Espace réservé du contenu 5">
            <a:extLst>
              <a:ext uri="{FF2B5EF4-FFF2-40B4-BE49-F238E27FC236}">
                <a16:creationId xmlns:a16="http://schemas.microsoft.com/office/drawing/2014/main" id="{DC237B0A-A182-FA31-EA4B-8F209F7F8AD6}"/>
              </a:ext>
            </a:extLst>
          </p:cNvPr>
          <p:cNvSpPr>
            <a:spLocks noGrp="1" noChangeAspect="1"/>
          </p:cNvSpPr>
          <p:nvPr>
            <p:ph sz="quarter" idx="49" hasCustomPrompt="1"/>
          </p:nvPr>
        </p:nvSpPr>
        <p:spPr>
          <a:xfrm>
            <a:off x="8078176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F34888FD-B259-D1DF-96E5-8E5676F083F0}"/>
              </a:ext>
            </a:extLst>
          </p:cNvPr>
          <p:cNvCxnSpPr>
            <a:cxnSpLocks/>
          </p:cNvCxnSpPr>
          <p:nvPr userDrawn="1"/>
        </p:nvCxnSpPr>
        <p:spPr>
          <a:xfrm>
            <a:off x="8072928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contenu 5">
            <a:extLst>
              <a:ext uri="{FF2B5EF4-FFF2-40B4-BE49-F238E27FC236}">
                <a16:creationId xmlns:a16="http://schemas.microsoft.com/office/drawing/2014/main" id="{0799B484-2EA4-B8F3-C44C-DA55596194CF}"/>
              </a:ext>
            </a:extLst>
          </p:cNvPr>
          <p:cNvSpPr>
            <a:spLocks noGrp="1" noChangeAspect="1"/>
          </p:cNvSpPr>
          <p:nvPr>
            <p:ph sz="quarter" idx="50" hasCustomPrompt="1"/>
          </p:nvPr>
        </p:nvSpPr>
        <p:spPr>
          <a:xfrm>
            <a:off x="9956551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21B91D52-3B21-022F-BCCE-78B97F421B14}"/>
              </a:ext>
            </a:extLst>
          </p:cNvPr>
          <p:cNvCxnSpPr>
            <a:cxnSpLocks/>
          </p:cNvCxnSpPr>
          <p:nvPr userDrawn="1"/>
        </p:nvCxnSpPr>
        <p:spPr>
          <a:xfrm>
            <a:off x="9951304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Espace réservé du titre 13">
            <a:extLst>
              <a:ext uri="{FF2B5EF4-FFF2-40B4-BE49-F238E27FC236}">
                <a16:creationId xmlns:a16="http://schemas.microsoft.com/office/drawing/2014/main" id="{D367DBE5-8493-4B86-7957-4C82DAD7F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24"/>
            <a:ext cx="3565525" cy="33126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FB61B926-9658-5BD1-4CA5-E154AC0A61E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B88F2E68-E339-50FC-4DEE-97879704504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343719" y="765179"/>
            <a:ext cx="7297420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sp>
        <p:nvSpPr>
          <p:cNvPr id="3" name="Espace réservé du numéro de diapositive 18">
            <a:extLst>
              <a:ext uri="{FF2B5EF4-FFF2-40B4-BE49-F238E27FC236}">
                <a16:creationId xmlns:a16="http://schemas.microsoft.com/office/drawing/2014/main" id="{DA7F3C1D-A80D-1B7B-F64A-ECDE86AF790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E39F637C-B7C8-7B52-3833-8F30A72310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65DF305-4552-CE9B-D59F-9BDFF2935B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4E472CCD-C7AE-ED2B-E150-1A3C11C9490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F50D91FA-EF93-2614-D924-CB8F656FD09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43719" y="2624839"/>
            <a:ext cx="1655872" cy="3683891"/>
          </a:xfrm>
        </p:spPr>
        <p:txBody>
          <a:bodyPr>
            <a:normAutofit/>
          </a:bodyPr>
          <a:lstStyle>
            <a:lvl1pPr marL="12600" indent="0" algn="l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036407FD-7242-596F-C205-92004A54365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275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67693E9-C60F-5B01-00E5-FECDA98A5C1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00710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15381CDE-9528-FBA3-AC3A-B7929CBC270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59327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519892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5087" userDrawn="1">
          <p15:clr>
            <a:srgbClr val="FBAE40"/>
          </p15:clr>
        </p15:guide>
        <p15:guide id="4" pos="4951" userDrawn="1">
          <p15:clr>
            <a:srgbClr val="FBAE40"/>
          </p15:clr>
        </p15:guide>
        <p15:guide id="7" orient="horz" pos="255" userDrawn="1">
          <p15:clr>
            <a:srgbClr val="FBAE40"/>
          </p15:clr>
        </p15:guide>
        <p15:guide id="8" pos="3772" userDrawn="1">
          <p15:clr>
            <a:srgbClr val="FBAE40"/>
          </p15:clr>
        </p15:guide>
        <p15:guide id="9" pos="3908" userDrawn="1">
          <p15:clr>
            <a:srgbClr val="FBAE40"/>
          </p15:clr>
        </p15:guide>
        <p15:guide id="10" pos="6131" userDrawn="1">
          <p15:clr>
            <a:srgbClr val="FBAE40"/>
          </p15:clr>
        </p15:guide>
        <p15:guide id="11" pos="626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775075"/>
            <a:ext cx="8580800" cy="6986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671655AF-21DD-2B4F-2F00-81BAECD1B3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6747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0D92BEAD-D11E-4DD8-5BB3-3F73292E650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13785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S EN CAPITALES</a:t>
            </a:r>
          </a:p>
        </p:txBody>
      </p:sp>
      <p:sp>
        <p:nvSpPr>
          <p:cNvPr id="7" name="Espace réservé du texte 30">
            <a:extLst>
              <a:ext uri="{FF2B5EF4-FFF2-40B4-BE49-F238E27FC236}">
                <a16:creationId xmlns:a16="http://schemas.microsoft.com/office/drawing/2014/main" id="{C913C772-B955-C727-E24C-347C81A2DF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7EADF9E-02CA-9284-02E5-24AE060CE4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56" name="Espace réservé du numéro de diapositive 18">
            <a:extLst>
              <a:ext uri="{FF2B5EF4-FFF2-40B4-BE49-F238E27FC236}">
                <a16:creationId xmlns:a16="http://schemas.microsoft.com/office/drawing/2014/main" id="{1FA71BE3-506D-F712-F1EC-BFDEF3922ED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7EF2FBA9-D0CC-5835-FDCA-95448AC9F8D5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890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7" pos="3841" userDrawn="1">
          <p15:clr>
            <a:srgbClr val="FBAE40"/>
          </p15:clr>
        </p15:guide>
        <p15:guide id="24" orient="horz" pos="1435" userDrawn="1">
          <p15:clr>
            <a:srgbClr val="5ACBF0"/>
          </p15:clr>
        </p15:guide>
        <p15:guide id="28" orient="horz" pos="1729" userDrawn="1">
          <p15:clr>
            <a:srgbClr val="5ACBF0"/>
          </p15:clr>
        </p15:guide>
        <p15:guide id="29" orient="horz" pos="1797" userDrawn="1">
          <p15:clr>
            <a:srgbClr val="5ACBF0"/>
          </p15:clr>
        </p15:guide>
        <p15:guide id="30" orient="horz" pos="2092" userDrawn="1">
          <p15:clr>
            <a:srgbClr val="5ACBF0"/>
          </p15:clr>
        </p15:guide>
        <p15:guide id="31" orient="horz" pos="2160" userDrawn="1">
          <p15:clr>
            <a:srgbClr val="5ACBF0"/>
          </p15:clr>
        </p15:guide>
        <p15:guide id="32" orient="horz" pos="2479" userDrawn="1">
          <p15:clr>
            <a:srgbClr val="5ACBF0"/>
          </p15:clr>
        </p15:guide>
        <p15:guide id="33" orient="horz" pos="2547" userDrawn="1">
          <p15:clr>
            <a:srgbClr val="5ACBF0"/>
          </p15:clr>
        </p15:guide>
        <p15:guide id="34" orient="horz" pos="2840" userDrawn="1">
          <p15:clr>
            <a:srgbClr val="5ACBF0"/>
          </p15:clr>
        </p15:guide>
        <p15:guide id="35" orient="horz" pos="2908" userDrawn="1">
          <p15:clr>
            <a:srgbClr val="5ACBF0"/>
          </p15:clr>
        </p15:guide>
        <p15:guide id="36" orient="horz" pos="3203" userDrawn="1">
          <p15:clr>
            <a:srgbClr val="5ACBF0"/>
          </p15:clr>
        </p15:guide>
        <p15:guide id="37" orient="horz" pos="3271" userDrawn="1">
          <p15:clr>
            <a:srgbClr val="5ACBF0"/>
          </p15:clr>
        </p15:guide>
        <p15:guide id="38" orient="horz" pos="3589" userDrawn="1">
          <p15:clr>
            <a:srgbClr val="5ACBF0"/>
          </p15:clr>
        </p15:guide>
        <p15:guide id="39" orient="horz" pos="3657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6B12E012-A7BB-18F4-B459-F6F2F95F40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7" y="3915860"/>
            <a:ext cx="3555331" cy="1123947"/>
          </a:xfrm>
        </p:spPr>
        <p:txBody>
          <a:bodyPr numCol="1" spcCol="288000">
            <a:normAutofit/>
          </a:bodyPr>
          <a:lstStyle>
            <a:lvl1pPr marL="0" indent="0" algn="l">
              <a:buClr>
                <a:schemeClr val="tx2"/>
              </a:buClr>
              <a:buSzPct val="120000"/>
              <a:buFont typeface="Police système Courant"/>
              <a:buNone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>
                <a:effectLst/>
              </a:rPr>
              <a:t>Conta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9D198-B074-D1E1-0446-AFE32E108AD3}"/>
              </a:ext>
            </a:extLst>
          </p:cNvPr>
          <p:cNvSpPr/>
          <p:nvPr userDrawn="1"/>
        </p:nvSpPr>
        <p:spPr>
          <a:xfrm>
            <a:off x="0" y="5274666"/>
            <a:ext cx="12292014" cy="163631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1" name="Image 10" descr="Une image contenant capture d’écran, gris, motif, tissu&#10;&#10;Description générée automatiquement">
            <a:extLst>
              <a:ext uri="{FF2B5EF4-FFF2-40B4-BE49-F238E27FC236}">
                <a16:creationId xmlns:a16="http://schemas.microsoft.com/office/drawing/2014/main" id="{7BC1F0BA-4F65-7C72-0FE5-8C855534AA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444"/>
          <a:stretch/>
        </p:blipFill>
        <p:spPr>
          <a:xfrm>
            <a:off x="0" y="5274664"/>
            <a:ext cx="12424717" cy="1641402"/>
          </a:xfrm>
          <a:prstGeom prst="rect">
            <a:avLst/>
          </a:prstGeom>
        </p:spPr>
      </p:pic>
      <p:pic>
        <p:nvPicPr>
          <p:cNvPr id="16" name="Image 15" descr="Une image contenant texte, logo, Graphique, Police&#10;&#10;Description générée automatiquement">
            <a:extLst>
              <a:ext uri="{FF2B5EF4-FFF2-40B4-BE49-F238E27FC236}">
                <a16:creationId xmlns:a16="http://schemas.microsoft.com/office/drawing/2014/main" id="{42890D3A-1A48-C92D-EF29-1A194943B8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8997" y="4214191"/>
            <a:ext cx="1880907" cy="1878629"/>
          </a:xfrm>
          <a:prstGeom prst="rect">
            <a:avLst/>
          </a:prstGeom>
        </p:spPr>
      </p:pic>
      <p:pic>
        <p:nvPicPr>
          <p:cNvPr id="18" name="Image 17" descr="Une image contenant texte, logo, Marque, cercle&#10;&#10;Description générée automatiquement">
            <a:extLst>
              <a:ext uri="{FF2B5EF4-FFF2-40B4-BE49-F238E27FC236}">
                <a16:creationId xmlns:a16="http://schemas.microsoft.com/office/drawing/2014/main" id="{8097CE81-671E-7255-C4D0-3D78D08D7C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2607" y="4239329"/>
            <a:ext cx="1853484" cy="1853484"/>
          </a:xfrm>
          <a:prstGeom prst="rect">
            <a:avLst/>
          </a:prstGeom>
        </p:spPr>
      </p:pic>
      <p:sp>
        <p:nvSpPr>
          <p:cNvPr id="2" name="Titre 2">
            <a:extLst>
              <a:ext uri="{FF2B5EF4-FFF2-40B4-BE49-F238E27FC236}">
                <a16:creationId xmlns:a16="http://schemas.microsoft.com/office/drawing/2014/main" id="{75062679-39B7-5FAD-11EE-A7072ABDC9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71" y="765179"/>
            <a:ext cx="7308842" cy="1123947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>
                <a:effectLst/>
              </a:rPr>
              <a:t>Ajouter du texte ic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1185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accent1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1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1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249064-46C1-42DF-E82E-3330788F38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622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C172CC-AA9E-A1AB-D22D-4B98051894FB}"/>
              </a:ext>
            </a:extLst>
          </p:cNvPr>
          <p:cNvSpPr/>
          <p:nvPr userDrawn="1"/>
        </p:nvSpPr>
        <p:spPr>
          <a:xfrm>
            <a:off x="0" y="5274666"/>
            <a:ext cx="12292014" cy="163631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AA78A0A-04B8-5C2E-2CAF-A3A3727299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2301391"/>
            <a:ext cx="9144000" cy="239219"/>
          </a:xfrm>
        </p:spPr>
        <p:txBody>
          <a:bodyPr>
            <a:normAutofit/>
          </a:bodyPr>
          <a:lstStyle>
            <a:lvl1pPr marL="0" indent="0" algn="l">
              <a:buNone/>
              <a:defRPr sz="1999" spc="80" baseline="0">
                <a:solidFill>
                  <a:schemeClr val="accent1"/>
                </a:solidFill>
              </a:defRPr>
            </a:lvl1pPr>
            <a:lvl2pPr marL="457120" indent="0" algn="ctr">
              <a:buNone/>
              <a:defRPr sz="1999"/>
            </a:lvl2pPr>
            <a:lvl3pPr marL="914242" indent="0" algn="ctr">
              <a:buNone/>
              <a:defRPr sz="1800"/>
            </a:lvl3pPr>
            <a:lvl4pPr marL="1371362" indent="0" algn="ctr">
              <a:buNone/>
              <a:defRPr sz="1600"/>
            </a:lvl4pPr>
            <a:lvl5pPr marL="1828484" indent="0" algn="ctr">
              <a:buNone/>
              <a:defRPr sz="1600"/>
            </a:lvl5pPr>
            <a:lvl6pPr marL="2285607" indent="0" algn="ctr">
              <a:buNone/>
              <a:defRPr sz="1600"/>
            </a:lvl6pPr>
            <a:lvl7pPr marL="2742723" indent="0" algn="ctr">
              <a:buNone/>
              <a:defRPr sz="1600"/>
            </a:lvl7pPr>
            <a:lvl8pPr marL="3199842" indent="0" algn="ctr">
              <a:buNone/>
              <a:defRPr sz="1600"/>
            </a:lvl8pPr>
            <a:lvl9pPr marL="3656962" indent="0" algn="ctr">
              <a:buNone/>
              <a:defRPr sz="1600"/>
            </a:lvl9pPr>
          </a:lstStyle>
          <a:p>
            <a:r>
              <a:rPr lang="fr-FR"/>
              <a:t>SOUS-TITRE EN CAPITALES</a:t>
            </a: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65178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bg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BD498531-0240-A5F8-9AE7-64949347C8FC}"/>
              </a:ext>
            </a:extLst>
          </p:cNvPr>
          <p:cNvCxnSpPr/>
          <p:nvPr userDrawn="1"/>
        </p:nvCxnSpPr>
        <p:spPr>
          <a:xfrm>
            <a:off x="550864" y="2114644"/>
            <a:ext cx="338714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2265F8CD-CA79-B69A-CD76-590ED195DF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2727350"/>
            <a:ext cx="2743200" cy="18137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99" b="0" i="0">
                <a:solidFill>
                  <a:schemeClr val="bg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273109F9-6FEC-CF42-B3A8-9A567BE9B188}" type="datetime4">
              <a:rPr lang="fr-FR" smtClean="0"/>
              <a:pPr/>
              <a:t>30 avril 2026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3685A1-618A-CD8B-F907-5E835736308F}"/>
              </a:ext>
            </a:extLst>
          </p:cNvPr>
          <p:cNvSpPr/>
          <p:nvPr userDrawn="1"/>
        </p:nvSpPr>
        <p:spPr>
          <a:xfrm>
            <a:off x="-10823" y="4292175"/>
            <a:ext cx="12242012" cy="92951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 descr="Une image contenant capture d’écran, gris, motif, tissu&#10;&#10;Description générée automatiquement">
            <a:extLst>
              <a:ext uri="{FF2B5EF4-FFF2-40B4-BE49-F238E27FC236}">
                <a16:creationId xmlns:a16="http://schemas.microsoft.com/office/drawing/2014/main" id="{8C33E74E-612B-C43F-FF96-E54D96DA5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823" y="4292175"/>
            <a:ext cx="12424717" cy="2623891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9C273DC-053C-A910-EF58-C68698BD777C}"/>
              </a:ext>
            </a:extLst>
          </p:cNvPr>
          <p:cNvCxnSpPr/>
          <p:nvPr userDrawn="1"/>
        </p:nvCxnSpPr>
        <p:spPr>
          <a:xfrm>
            <a:off x="-117566" y="5233310"/>
            <a:ext cx="12409580" cy="0"/>
          </a:xfrm>
          <a:prstGeom prst="line">
            <a:avLst/>
          </a:prstGeom>
          <a:ln w="889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Image 19" descr="Une image contenant texte, logo, Graphique, Police&#10;&#10;Description générée automatiquement">
            <a:extLst>
              <a:ext uri="{FF2B5EF4-FFF2-40B4-BE49-F238E27FC236}">
                <a16:creationId xmlns:a16="http://schemas.microsoft.com/office/drawing/2014/main" id="{2709B0C5-2B94-2738-435A-BBB7E0CDB4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3939" y="2616778"/>
            <a:ext cx="3288651" cy="33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857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accent1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1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1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249064-46C1-42DF-E82E-3330788F38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22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bg2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bg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bg2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557D42B-BA40-43FE-46B7-11E1BF9C1B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54235"/>
            <a:ext cx="12292014" cy="101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101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2"/>
                  </a:solidFill>
                </a:ln>
                <a:noFill/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2B652F-3D8E-06D4-5A3E-1257A92BC80B}"/>
              </a:ext>
            </a:extLst>
          </p:cNvPr>
          <p:cNvSpPr/>
          <p:nvPr userDrawn="1"/>
        </p:nvSpPr>
        <p:spPr>
          <a:xfrm>
            <a:off x="0" y="4813300"/>
            <a:ext cx="12292014" cy="2044700"/>
          </a:xfrm>
          <a:prstGeom prst="rect">
            <a:avLst/>
          </a:prstGeom>
          <a:solidFill>
            <a:schemeClr val="accent2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D252252-96CF-3E75-6E1E-3D477BBACE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125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accent3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3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B810C8C-FEE4-0249-BF83-275A5F881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666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DC4E7EB-CDAE-CF83-CF86-8DA071190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D835984-6AE0-7A50-C3E5-324CCF6F78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5" y="188119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868DB6A6-A1EA-27D3-79BA-B14CC82F2C6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68154" y="2267271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 dirty="0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 dirty="0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 dirty="0"/>
              <a:t>Titre de sous partie</a:t>
            </a:r>
          </a:p>
          <a:p>
            <a:pPr lvl="0"/>
            <a:endParaRPr lang="fr-FR" dirty="0"/>
          </a:p>
          <a:p>
            <a:pPr lvl="0"/>
            <a:endParaRPr lang="fr-FR" dirty="0"/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E90F734-01C2-A6A6-BAF4-43A2ED74FB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865" y="325803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2" name="Espace réservé du texte 11">
            <a:extLst>
              <a:ext uri="{FF2B5EF4-FFF2-40B4-BE49-F238E27FC236}">
                <a16:creationId xmlns:a16="http://schemas.microsoft.com/office/drawing/2014/main" id="{9F2F8DD3-1B41-B277-420A-9DEF0879AC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8154" y="3654635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5557F29E-E95D-0C71-BE0C-E6A4B74A10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4589" y="188119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CF61414E-B138-38EE-DB39-E7BC093EE9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51878" y="2267271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796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29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  <p15:guide id="8" pos="6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B95CF052-996F-4CAC-D175-E1DCB56ED0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7" y="1889131"/>
            <a:ext cx="7298656" cy="4429239"/>
          </a:xfrm>
        </p:spPr>
        <p:txBody>
          <a:bodyPr numCol="1" spcCol="288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  <a:p>
            <a:pPr lvl="0"/>
            <a:endParaRPr lang="fr-FR" dirty="0">
              <a:effectLst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83C1B453-6C7B-9779-4BD2-77355C2AD1FB}"/>
              </a:ext>
            </a:extLst>
          </p:cNvPr>
          <p:cNvCxnSpPr/>
          <p:nvPr userDrawn="1"/>
        </p:nvCxnSpPr>
        <p:spPr>
          <a:xfrm>
            <a:off x="9470574" y="2449285"/>
            <a:ext cx="2166259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24">
            <a:extLst>
              <a:ext uri="{FF2B5EF4-FFF2-40B4-BE49-F238E27FC236}">
                <a16:creationId xmlns:a16="http://schemas.microsoft.com/office/drawing/2014/main" id="{D2CD6A09-893B-78C0-9B93-9AF75D0D8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4" y="2449968"/>
            <a:ext cx="3565525" cy="872048"/>
          </a:xfrm>
          <a:solidFill>
            <a:schemeClr val="accent3">
              <a:lumMod val="20000"/>
              <a:lumOff val="80000"/>
            </a:schemeClr>
          </a:solidFill>
        </p:spPr>
        <p:txBody>
          <a:bodyPr wrap="square" lIns="180000" tIns="180000" rIns="180000" bIns="216000">
            <a:spAutoFit/>
          </a:bodyPr>
          <a:lstStyle>
            <a:lvl1pPr marL="179972" indent="-179972">
              <a:spcBef>
                <a:spcPts val="2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451"/>
            </a:lvl1pPr>
            <a:lvl2pPr marL="457120" indent="0">
              <a:buFontTx/>
              <a:buNone/>
              <a:defRPr/>
            </a:lvl2pPr>
            <a:lvl3pPr marL="914242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4" indent="0">
              <a:buFontTx/>
              <a:buNone/>
              <a:defRPr/>
            </a:lvl5pPr>
          </a:lstStyle>
          <a:p>
            <a:pPr lvl="0"/>
            <a:r>
              <a:rPr lang="fr-FR">
                <a:effectLst/>
              </a:rPr>
              <a:t>Argument 1</a:t>
            </a:r>
          </a:p>
          <a:p>
            <a:pPr lvl="0"/>
            <a:r>
              <a:rPr lang="fr-FR">
                <a:effectLst/>
              </a:rPr>
              <a:t>Argument 2</a:t>
            </a:r>
            <a:endParaRPr lang="fr-FR"/>
          </a:p>
        </p:txBody>
      </p:sp>
      <p:sp>
        <p:nvSpPr>
          <p:cNvPr id="9" name="Espace réservé du texte 31">
            <a:extLst>
              <a:ext uri="{FF2B5EF4-FFF2-40B4-BE49-F238E27FC236}">
                <a16:creationId xmlns:a16="http://schemas.microsoft.com/office/drawing/2014/main" id="{A2029D72-BF83-55A8-8B23-7B9AB3640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309" y="1889126"/>
            <a:ext cx="3565525" cy="56038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80000" tIns="180000" rIns="180000" bIns="180000">
            <a:noAutofit/>
          </a:bodyPr>
          <a:lstStyle>
            <a:lvl1pPr marL="12600" indent="0">
              <a:buFontTx/>
              <a:buNone/>
              <a:defRPr sz="14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bloc exergu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DC4E7EB-CDAE-CF83-CF86-8DA071190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2686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29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15"/>
            <a:ext cx="8280839" cy="3312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contenu 5">
            <a:extLst>
              <a:ext uri="{FF2B5EF4-FFF2-40B4-BE49-F238E27FC236}">
                <a16:creationId xmlns:a16="http://schemas.microsoft.com/office/drawing/2014/main" id="{2453FD60-1E59-B389-93D0-7C1DA0B95285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134EABE8-F371-6B2B-8D24-B9AC4A1E694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A1B9B33F-1C76-EBA5-3D37-5D989629E8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id="{0CD4BC2F-CCF0-0E23-19D5-F5C469337686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24DBD31-A7B8-E370-4CE4-8476B778E5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CCCACD8C-20CC-F84C-0799-0E673D5AC6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30">
            <a:extLst>
              <a:ext uri="{FF2B5EF4-FFF2-40B4-BE49-F238E27FC236}">
                <a16:creationId xmlns:a16="http://schemas.microsoft.com/office/drawing/2014/main" id="{27DE5B33-C1BD-F8AC-FFAE-F4E8941467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0602FF7-D3DD-9AFA-88AB-0BDDA4AF6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2AA4FD08-2945-BCF2-5178-98622F873C3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A05990D6-1036-1B67-FD2F-BF46EE356FBE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068919-A69D-7804-9A3D-96B0B36F66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5086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61283820-8892-DD26-946A-3D52CD6F8D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63637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267D50CF-B621-DC47-8C29-EFF3B76A1E9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16167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E1248D5-AF26-CAFD-EB93-3B6248F12B1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28941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374662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onnes de texte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15"/>
            <a:ext cx="8280839" cy="3312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contenu 5">
            <a:extLst>
              <a:ext uri="{FF2B5EF4-FFF2-40B4-BE49-F238E27FC236}">
                <a16:creationId xmlns:a16="http://schemas.microsoft.com/office/drawing/2014/main" id="{2453FD60-1E59-B389-93D0-7C1DA0B95285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134EABE8-F371-6B2B-8D24-B9AC4A1E694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A1B9B33F-1C76-EBA5-3D37-5D989629E8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id="{0CD4BC2F-CCF0-0E23-19D5-F5C469337686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24DBD31-A7B8-E370-4CE4-8476B778E5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CCCACD8C-20CC-F84C-0799-0E673D5AC6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30">
            <a:extLst>
              <a:ext uri="{FF2B5EF4-FFF2-40B4-BE49-F238E27FC236}">
                <a16:creationId xmlns:a16="http://schemas.microsoft.com/office/drawing/2014/main" id="{27DE5B33-C1BD-F8AC-FFAE-F4E8941467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0602FF7-D3DD-9AFA-88AB-0BDDA4AF6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CBD8E643-0AEB-C359-C402-EEA4221ED84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6D8C003-A900-4BEE-43BA-6385F4EF3919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1D1E24-F51B-7E47-9D88-D9745A85E51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173F215F-4F04-8874-50DC-C71BC24293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60509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551BFFFF-0557-0110-9CCA-22DC432FFF4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22978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1026582F-D902-CA5E-D387-AD43A777F0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2581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1912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24"/>
            <a:ext cx="8280839" cy="33126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6A556FE0-7A55-43CC-F2E7-1AB90C76C98E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3379791" y="4848183"/>
            <a:ext cx="1263332" cy="146055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graphique 5">
            <a:extLst>
              <a:ext uri="{FF2B5EF4-FFF2-40B4-BE49-F238E27FC236}">
                <a16:creationId xmlns:a16="http://schemas.microsoft.com/office/drawing/2014/main" id="{348A2BC9-C421-0425-EF96-37127C55DB6B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4720911" y="4848183"/>
            <a:ext cx="1263332" cy="146055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9DD4C994-ECE7-69E2-A809-0F98CE8D8BE3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6E089470-792E-DA85-A624-46F703ED89C0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214DA7DA-4D01-CF62-9418-638BDAE9F30E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7" name="Espace réservé du contenu 5">
            <a:extLst>
              <a:ext uri="{FF2B5EF4-FFF2-40B4-BE49-F238E27FC236}">
                <a16:creationId xmlns:a16="http://schemas.microsoft.com/office/drawing/2014/main" id="{C72B3403-A0B2-76E8-7BFD-A48BD937717C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AACB761F-AB4F-FC54-3ED9-4BD3E978D5A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8F33EE1A-D5EF-AF35-B25B-5A92047153F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7226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2" name="Espace réservé du numéro de diapositive 18">
            <a:extLst>
              <a:ext uri="{FF2B5EF4-FFF2-40B4-BE49-F238E27FC236}">
                <a16:creationId xmlns:a16="http://schemas.microsoft.com/office/drawing/2014/main" id="{C4BAEEC8-7475-F137-741B-19C3859ACE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8FB07E0E-891A-AB40-DE6F-D3D0A7CE39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26384E4-CA22-5758-0840-9498C82774EE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A7C5622-E564-2496-1D3C-96D7185428F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70061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3E5EC777-6CB8-8B52-1547-0AC01E07F59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0271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44CE4ED1-3770-05A3-F5DD-B05CFC71BD7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05548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469730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bg2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bg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bg2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557D42B-BA40-43FE-46B7-11E1BF9C1B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54235"/>
            <a:ext cx="12292014" cy="101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onnes +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7" y="774217"/>
            <a:ext cx="8281987" cy="365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C5A25F03-C807-7BC8-822D-BC5382B6CBB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28314" y="1881178"/>
            <a:ext cx="2612832" cy="4427545"/>
          </a:xfrm>
        </p:spPr>
        <p:txBody>
          <a:bodyPr/>
          <a:lstStyle>
            <a:lvl1pPr marL="12600" indent="0">
              <a:spcBef>
                <a:spcPts val="0"/>
              </a:spcBef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B65A055A-C6DA-FA5A-2D7D-5B9FCE00E91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50867" y="1881188"/>
            <a:ext cx="8281987" cy="4427544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E4B092F8-9D49-6A1F-9335-A640B1FCAE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sp>
        <p:nvSpPr>
          <p:cNvPr id="8" name="Espace réservé du numéro de diapositive 18">
            <a:extLst>
              <a:ext uri="{FF2B5EF4-FFF2-40B4-BE49-F238E27FC236}">
                <a16:creationId xmlns:a16="http://schemas.microsoft.com/office/drawing/2014/main" id="{0D7BED63-B2C3-8915-E376-EF4E9EB371D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1210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89256B-681A-CFFA-54F6-D7132AE52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8" y="765179"/>
            <a:ext cx="5545137" cy="408147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6" name="Espace réservé du texte 30">
            <a:extLst>
              <a:ext uri="{FF2B5EF4-FFF2-40B4-BE49-F238E27FC236}">
                <a16:creationId xmlns:a16="http://schemas.microsoft.com/office/drawing/2014/main" id="{10F1A3A1-C841-8AF5-E357-1476940C24A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8741B4F-6A2F-D3B9-A20C-8AAD2E2744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56452737-72F9-77C6-F7EA-8703207C748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B411B0E-479C-7411-28B1-15DAB96BAB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5422" y="780499"/>
            <a:ext cx="5428848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 de plusieurs lign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969FF372-CF21-F4F2-31FE-87FD0E8CB440}"/>
              </a:ext>
            </a:extLst>
          </p:cNvPr>
          <p:cNvCxnSpPr>
            <a:cxnSpLocks/>
          </p:cNvCxnSpPr>
          <p:nvPr userDrawn="1"/>
        </p:nvCxnSpPr>
        <p:spPr>
          <a:xfrm>
            <a:off x="9013710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39676FF-E87F-943E-A583-BDF94E3D98C6}"/>
              </a:ext>
            </a:extLst>
          </p:cNvPr>
          <p:cNvCxnSpPr>
            <a:cxnSpLocks/>
          </p:cNvCxnSpPr>
          <p:nvPr userDrawn="1"/>
        </p:nvCxnSpPr>
        <p:spPr>
          <a:xfrm>
            <a:off x="6215426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989B73D9-7D7B-DBF4-C898-2567D4DD0F7D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6215430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CAF9E003-1882-3BDB-AD55-8D30BF93A5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15542" y="2624838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CA062585-8423-9650-7242-9A2183120A0F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902820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9BE265CC-FF9A-D50A-0082-F4ECD67534F5}"/>
              </a:ext>
            </a:extLst>
          </p:cNvPr>
          <p:cNvCxnSpPr>
            <a:cxnSpLocks/>
          </p:cNvCxnSpPr>
          <p:nvPr userDrawn="1"/>
        </p:nvCxnSpPr>
        <p:spPr>
          <a:xfrm>
            <a:off x="9013710" y="3951377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51FF9E74-A94F-4F23-F87F-156A2AD96870}"/>
              </a:ext>
            </a:extLst>
          </p:cNvPr>
          <p:cNvCxnSpPr>
            <a:cxnSpLocks/>
          </p:cNvCxnSpPr>
          <p:nvPr userDrawn="1"/>
        </p:nvCxnSpPr>
        <p:spPr>
          <a:xfrm>
            <a:off x="6215426" y="3951377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Espace réservé du contenu 5">
            <a:extLst>
              <a:ext uri="{FF2B5EF4-FFF2-40B4-BE49-F238E27FC236}">
                <a16:creationId xmlns:a16="http://schemas.microsoft.com/office/drawing/2014/main" id="{5E61C61E-EAA5-9422-451D-A18F090120E8}"/>
              </a:ext>
            </a:extLst>
          </p:cNvPr>
          <p:cNvSpPr>
            <a:spLocks noGrp="1" noChangeAspect="1"/>
          </p:cNvSpPr>
          <p:nvPr>
            <p:ph sz="quarter" idx="64" hasCustomPrompt="1"/>
          </p:nvPr>
        </p:nvSpPr>
        <p:spPr>
          <a:xfrm>
            <a:off x="6215430" y="3354107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4" name="Espace réservé du contenu 5">
            <a:extLst>
              <a:ext uri="{FF2B5EF4-FFF2-40B4-BE49-F238E27FC236}">
                <a16:creationId xmlns:a16="http://schemas.microsoft.com/office/drawing/2014/main" id="{3C84C1C2-F825-E1E2-5564-8D006733BA4B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9028205" y="3354107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3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EC785420-6091-D0BD-469E-7254454C1B4E}"/>
              </a:ext>
            </a:extLst>
          </p:cNvPr>
          <p:cNvCxnSpPr>
            <a:cxnSpLocks/>
          </p:cNvCxnSpPr>
          <p:nvPr userDrawn="1"/>
        </p:nvCxnSpPr>
        <p:spPr>
          <a:xfrm>
            <a:off x="9013710" y="5421831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F04D6792-A2A6-35DB-08B8-4FA9926164A1}"/>
              </a:ext>
            </a:extLst>
          </p:cNvPr>
          <p:cNvCxnSpPr>
            <a:cxnSpLocks/>
          </p:cNvCxnSpPr>
          <p:nvPr userDrawn="1"/>
        </p:nvCxnSpPr>
        <p:spPr>
          <a:xfrm>
            <a:off x="6215426" y="5421831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Espace réservé du contenu 5">
            <a:extLst>
              <a:ext uri="{FF2B5EF4-FFF2-40B4-BE49-F238E27FC236}">
                <a16:creationId xmlns:a16="http://schemas.microsoft.com/office/drawing/2014/main" id="{92ABB17A-D84A-86B8-B22B-ACB4E4BA53CB}"/>
              </a:ext>
            </a:extLst>
          </p:cNvPr>
          <p:cNvSpPr>
            <a:spLocks noGrp="1" noChangeAspect="1"/>
          </p:cNvSpPr>
          <p:nvPr>
            <p:ph sz="quarter" idx="68" hasCustomPrompt="1"/>
          </p:nvPr>
        </p:nvSpPr>
        <p:spPr>
          <a:xfrm>
            <a:off x="6215430" y="482456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66" name="Espace réservé du contenu 5">
            <a:extLst>
              <a:ext uri="{FF2B5EF4-FFF2-40B4-BE49-F238E27FC236}">
                <a16:creationId xmlns:a16="http://schemas.microsoft.com/office/drawing/2014/main" id="{3B43CA98-0A58-598C-D210-DACEEDD6EF55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9028205" y="482456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6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06CE3CCD-C86E-5D71-0227-D77C40A6DA2B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Espace réservé du numéro de diapositive 18">
            <a:extLst>
              <a:ext uri="{FF2B5EF4-FFF2-40B4-BE49-F238E27FC236}">
                <a16:creationId xmlns:a16="http://schemas.microsoft.com/office/drawing/2014/main" id="{130211CA-1AE6-2EF6-7F11-10AE49FD6944}"/>
              </a:ext>
            </a:extLst>
          </p:cNvPr>
          <p:cNvSpPr txBox="1">
            <a:spLocks/>
          </p:cNvSpPr>
          <p:nvPr userDrawn="1"/>
        </p:nvSpPr>
        <p:spPr>
          <a:xfrm>
            <a:off x="8897937" y="248487"/>
            <a:ext cx="2743200" cy="1686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b="0" i="0" kern="120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381681-318F-F34D-BC07-1902CF377D87}" type="slidenum">
              <a:rPr lang="fr-FR" sz="1199" smtClean="0"/>
              <a:pPr/>
              <a:t>‹N°›</a:t>
            </a:fld>
            <a:endParaRPr lang="fr-FR" sz="1199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33F71097-CEC6-452E-DC9E-0781698C70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3" y="1889131"/>
            <a:ext cx="5534949" cy="4429239"/>
          </a:xfrm>
        </p:spPr>
        <p:txBody>
          <a:bodyPr numCol="1" spcCol="288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 (à supprimer si pas utile)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  <a:p>
            <a:pPr lvl="0"/>
            <a:endParaRPr lang="fr-FR" dirty="0">
              <a:effectLst/>
            </a:endParaRP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4BC6E7B7-2937-DEE2-ECDD-A4ACFE9670F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018376" y="2624838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ACB2A374-19CF-B32C-8EF7-83C245E8582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15542" y="4066014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2F615F25-4215-472D-FD1D-9C15BE3C68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018376" y="4066014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6FFBC866-8873-59CB-3FC7-03B23C040417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15542" y="5537006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20322F6A-05E9-D3FE-0253-5A441F535EC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018376" y="5537006"/>
            <a:ext cx="2612832" cy="585349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sz="1300"/>
            </a:lvl1pPr>
          </a:lstStyle>
          <a:p>
            <a:pPr lvl="0"/>
            <a:r>
              <a:rPr lang="fr-FR"/>
              <a:t>Texte</a:t>
            </a:r>
          </a:p>
          <a:p>
            <a:pPr lvl="0"/>
            <a:r>
              <a:rPr lang="fr-FR"/>
              <a:t>Texte</a:t>
            </a:r>
            <a:br>
              <a:rPr lang="fr-FR"/>
            </a:br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3032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390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74215"/>
            <a:ext cx="8288296" cy="3455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38519225-4F91-4BAC-7E47-26F159F3974C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0867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68E207E4-A7E0-CAB5-D858-779D47D79E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865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BA9C8545-9CC7-016B-0E35-51E501092C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FC53E5F-44E4-219E-4C96-602233DD9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pour une image  5">
            <a:extLst>
              <a:ext uri="{FF2B5EF4-FFF2-40B4-BE49-F238E27FC236}">
                <a16:creationId xmlns:a16="http://schemas.microsoft.com/office/drawing/2014/main" id="{CE64B3F0-DBC3-3D86-BC97-5F2FB87A7C4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380563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6" name="Espace réservé pour une image  5">
            <a:extLst>
              <a:ext uri="{FF2B5EF4-FFF2-40B4-BE49-F238E27FC236}">
                <a16:creationId xmlns:a16="http://schemas.microsoft.com/office/drawing/2014/main" id="{CC401591-9393-8D9D-D018-02FECAD88EA0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6210259" y="1881196"/>
            <a:ext cx="2628901" cy="337026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8B6D54C1-ADF8-AF23-2E69-C3A62618F05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21E88F4E-32DF-606F-13DD-2AA1F8B1AB4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76569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4106ED-2418-E46B-4154-B656FBD01F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18382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4B22E1AD-ABD9-71F4-3366-D2A34BD5B3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15369" y="5352930"/>
            <a:ext cx="2628901" cy="3455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 dirty="0">
                <a:effectLst/>
              </a:rPr>
              <a:t>Légende</a:t>
            </a:r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A867CE-C1FB-7C72-D75A-A348ADA52CF9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numéro de diapositive 18">
            <a:extLst>
              <a:ext uri="{FF2B5EF4-FFF2-40B4-BE49-F238E27FC236}">
                <a16:creationId xmlns:a16="http://schemas.microsoft.com/office/drawing/2014/main" id="{0569A7DB-05F6-FB97-F310-ED3B6235B34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pour une image  5">
            <a:extLst>
              <a:ext uri="{FF2B5EF4-FFF2-40B4-BE49-F238E27FC236}">
                <a16:creationId xmlns:a16="http://schemas.microsoft.com/office/drawing/2014/main" id="{3FE82BBB-BC6A-5053-62BE-2286ACC8E22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002887" y="3637734"/>
            <a:ext cx="2628901" cy="16101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Dans le cas de 2 images</a:t>
            </a:r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CB8373C7-C24B-0157-5FD9-A509E2A72F6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9002887" y="1888447"/>
            <a:ext cx="2628901" cy="16101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Dans le cas de 2 images</a:t>
            </a:r>
          </a:p>
        </p:txBody>
      </p:sp>
    </p:spTree>
    <p:extLst>
      <p:ext uri="{BB962C8B-B14F-4D97-AF65-F5344CB8AC3E}">
        <p14:creationId xmlns:p14="http://schemas.microsoft.com/office/powerpoint/2010/main" val="1048319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72716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5" name="Espace réservé du titre 13">
            <a:extLst>
              <a:ext uri="{FF2B5EF4-FFF2-40B4-BE49-F238E27FC236}">
                <a16:creationId xmlns:a16="http://schemas.microsoft.com/office/drawing/2014/main" id="{6FF141B6-0D98-DC95-C12A-FED2AB4CE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774215"/>
            <a:ext cx="8288296" cy="3455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FAA88B41-F098-8A25-86D5-39AB7166C38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pour une image  5">
            <a:extLst>
              <a:ext uri="{FF2B5EF4-FFF2-40B4-BE49-F238E27FC236}">
                <a16:creationId xmlns:a16="http://schemas.microsoft.com/office/drawing/2014/main" id="{4CA9BB6A-3C5E-53AC-FD7D-20D4FE3D453B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0867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619A53B5-ED28-3A35-A6B3-901715E1BC8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865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BE50372D-4296-05D8-6AB9-72FAAB5679D7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317798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3685BC33-6169-E6F0-F4EF-A5E45F20A3A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17796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4" name="Espace réservé pour une image  5">
            <a:extLst>
              <a:ext uri="{FF2B5EF4-FFF2-40B4-BE49-F238E27FC236}">
                <a16:creationId xmlns:a16="http://schemas.microsoft.com/office/drawing/2014/main" id="{736C4C17-DFE9-FB5F-7CA8-858EE42145FC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8074789" y="1881196"/>
            <a:ext cx="3565523" cy="3819761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37D12695-3103-A26F-F5EB-D7FD1E82B1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074787" y="5841696"/>
            <a:ext cx="3565523" cy="468617"/>
          </a:xfrm>
        </p:spPr>
        <p:txBody>
          <a:bodyPr>
            <a:no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2793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29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774215"/>
            <a:ext cx="8580800" cy="6986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28" name="Espace réservé du texte 3">
            <a:extLst>
              <a:ext uri="{FF2B5EF4-FFF2-40B4-BE49-F238E27FC236}">
                <a16:creationId xmlns:a16="http://schemas.microsoft.com/office/drawing/2014/main" id="{656AAE18-1289-1EE5-7296-BADB6F0524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78013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EBD55200-78B5-4787-6D82-6510F332B84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58886" y="1905868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Portrait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DB4DD478-A941-56C7-DE6E-047CF0D7AF1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78013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635E080-179C-D732-139D-AF09B4544CC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78013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F9DC614A-0DAF-6720-2841-861B493CB16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581704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41" name="Espace réservé pour une image  6">
            <a:extLst>
              <a:ext uri="{FF2B5EF4-FFF2-40B4-BE49-F238E27FC236}">
                <a16:creationId xmlns:a16="http://schemas.microsoft.com/office/drawing/2014/main" id="{B32E5ABC-BB99-EA81-2765-3E65E9AA4940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8886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r>
              <a:rPr lang="fr-FR"/>
              <a:t>Portrait</a:t>
            </a:r>
          </a:p>
        </p:txBody>
      </p:sp>
      <p:sp>
        <p:nvSpPr>
          <p:cNvPr id="42" name="Espace réservé pour une image  6">
            <a:extLst>
              <a:ext uri="{FF2B5EF4-FFF2-40B4-BE49-F238E27FC236}">
                <a16:creationId xmlns:a16="http://schemas.microsoft.com/office/drawing/2014/main" id="{3B65C6D4-DDD6-B350-71D7-A4BFE7321BA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558886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43" name="Espace réservé pour une image  6">
            <a:extLst>
              <a:ext uri="{FF2B5EF4-FFF2-40B4-BE49-F238E27FC236}">
                <a16:creationId xmlns:a16="http://schemas.microsoft.com/office/drawing/2014/main" id="{F08A1CE5-4CDB-CE6D-770E-7DCCD178E582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558886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54" name="Espace réservé du texte 3">
            <a:extLst>
              <a:ext uri="{FF2B5EF4-FFF2-40B4-BE49-F238E27FC236}">
                <a16:creationId xmlns:a16="http://schemas.microsoft.com/office/drawing/2014/main" id="{96631AAB-D9DE-CFC4-E037-3BA92A1FBD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01390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55" name="Espace réservé pour une image  6">
            <a:extLst>
              <a:ext uri="{FF2B5EF4-FFF2-40B4-BE49-F238E27FC236}">
                <a16:creationId xmlns:a16="http://schemas.microsoft.com/office/drawing/2014/main" id="{8B741B9A-EB9B-0547-C894-E2EA2B3130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376877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57" name="Espace réservé du texte 3">
            <a:extLst>
              <a:ext uri="{FF2B5EF4-FFF2-40B4-BE49-F238E27FC236}">
                <a16:creationId xmlns:a16="http://schemas.microsoft.com/office/drawing/2014/main" id="{4A53AA8B-3733-EA6E-E727-7FF224B1A29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04026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59" name="Espace réservé du texte 3">
            <a:extLst>
              <a:ext uri="{FF2B5EF4-FFF2-40B4-BE49-F238E27FC236}">
                <a16:creationId xmlns:a16="http://schemas.microsoft.com/office/drawing/2014/main" id="{4A4E8B2F-489B-FD43-4C08-646EB5D5ED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01390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61" name="Espace réservé du texte 3">
            <a:extLst>
              <a:ext uri="{FF2B5EF4-FFF2-40B4-BE49-F238E27FC236}">
                <a16:creationId xmlns:a16="http://schemas.microsoft.com/office/drawing/2014/main" id="{6A367C62-9AD0-E456-031D-61B7E0D1D70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01385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63" name="Espace réservé pour une image  6">
            <a:extLst>
              <a:ext uri="{FF2B5EF4-FFF2-40B4-BE49-F238E27FC236}">
                <a16:creationId xmlns:a16="http://schemas.microsoft.com/office/drawing/2014/main" id="{BEAF14D2-BD70-F49F-B647-64E33228BF8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376877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4" name="Espace réservé pour une image  6">
            <a:extLst>
              <a:ext uri="{FF2B5EF4-FFF2-40B4-BE49-F238E27FC236}">
                <a16:creationId xmlns:a16="http://schemas.microsoft.com/office/drawing/2014/main" id="{D406F63E-CC3D-8BE0-BC47-B9F01F3B844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3376877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5" name="Espace réservé pour une image  6">
            <a:extLst>
              <a:ext uri="{FF2B5EF4-FFF2-40B4-BE49-F238E27FC236}">
                <a16:creationId xmlns:a16="http://schemas.microsoft.com/office/drawing/2014/main" id="{9F0CF30E-B718-CE20-380C-C0F8F2478DCC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3376877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67" name="Espace réservé du texte 3">
            <a:extLst>
              <a:ext uri="{FF2B5EF4-FFF2-40B4-BE49-F238E27FC236}">
                <a16:creationId xmlns:a16="http://schemas.microsoft.com/office/drawing/2014/main" id="{CA0CB3BD-9114-DC04-E048-D0E83453CC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237409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68" name="Espace réservé pour une image  6">
            <a:extLst>
              <a:ext uri="{FF2B5EF4-FFF2-40B4-BE49-F238E27FC236}">
                <a16:creationId xmlns:a16="http://schemas.microsoft.com/office/drawing/2014/main" id="{45CBFB80-76E0-ACAA-6B2A-344250CE44B0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6210262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0" name="Espace réservé du texte 3">
            <a:extLst>
              <a:ext uri="{FF2B5EF4-FFF2-40B4-BE49-F238E27FC236}">
                <a16:creationId xmlns:a16="http://schemas.microsoft.com/office/drawing/2014/main" id="{EA956D15-175F-C990-5079-1733124395A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37409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2" name="Espace réservé du texte 3">
            <a:extLst>
              <a:ext uri="{FF2B5EF4-FFF2-40B4-BE49-F238E27FC236}">
                <a16:creationId xmlns:a16="http://schemas.microsoft.com/office/drawing/2014/main" id="{71496CC2-8849-E445-5B98-4B849BB4052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37409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74" name="Espace réservé du texte 3">
            <a:extLst>
              <a:ext uri="{FF2B5EF4-FFF2-40B4-BE49-F238E27FC236}">
                <a16:creationId xmlns:a16="http://schemas.microsoft.com/office/drawing/2014/main" id="{3FDEAD65-DBE4-BBC5-11CF-1F9DBCF47EB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241099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76" name="Espace réservé pour une image  6">
            <a:extLst>
              <a:ext uri="{FF2B5EF4-FFF2-40B4-BE49-F238E27FC236}">
                <a16:creationId xmlns:a16="http://schemas.microsoft.com/office/drawing/2014/main" id="{A971147F-F77F-0822-F431-7BE0CE92E6D7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6210262" y="3030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7" name="Espace réservé pour une image  6">
            <a:extLst>
              <a:ext uri="{FF2B5EF4-FFF2-40B4-BE49-F238E27FC236}">
                <a16:creationId xmlns:a16="http://schemas.microsoft.com/office/drawing/2014/main" id="{85BB6A9F-CCB1-02BA-E0D1-82CD3F10C44C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6210262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</p:txBody>
      </p:sp>
      <p:sp>
        <p:nvSpPr>
          <p:cNvPr id="78" name="Espace réservé pour une image  6">
            <a:extLst>
              <a:ext uri="{FF2B5EF4-FFF2-40B4-BE49-F238E27FC236}">
                <a16:creationId xmlns:a16="http://schemas.microsoft.com/office/drawing/2014/main" id="{254135E7-D7DC-1AA1-A5CF-1C022844D45B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6210262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79" name="Espace réservé du texte 3">
            <a:extLst>
              <a:ext uri="{FF2B5EF4-FFF2-40B4-BE49-F238E27FC236}">
                <a16:creationId xmlns:a16="http://schemas.microsoft.com/office/drawing/2014/main" id="{9F87F160-B0FF-A168-A193-D92011A6899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042390" y="1842360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80" name="Espace réservé pour une image  6">
            <a:extLst>
              <a:ext uri="{FF2B5EF4-FFF2-40B4-BE49-F238E27FC236}">
                <a16:creationId xmlns:a16="http://schemas.microsoft.com/office/drawing/2014/main" id="{533F38B8-A41A-D496-68EC-1A0780A1334B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9023265" y="1889209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82" name="Espace réservé du texte 3">
            <a:extLst>
              <a:ext uri="{FF2B5EF4-FFF2-40B4-BE49-F238E27FC236}">
                <a16:creationId xmlns:a16="http://schemas.microsoft.com/office/drawing/2014/main" id="{D5B42F00-3EB1-1124-02B2-5281DA7D12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0042390" y="2965313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84" name="Espace réservé du texte 3">
            <a:extLst>
              <a:ext uri="{FF2B5EF4-FFF2-40B4-BE49-F238E27FC236}">
                <a16:creationId xmlns:a16="http://schemas.microsoft.com/office/drawing/2014/main" id="{55B1C29F-C3D9-7DB9-2200-151C5113874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042390" y="4126048"/>
            <a:ext cx="1591021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86" name="Espace réservé du texte 3">
            <a:extLst>
              <a:ext uri="{FF2B5EF4-FFF2-40B4-BE49-F238E27FC236}">
                <a16:creationId xmlns:a16="http://schemas.microsoft.com/office/drawing/2014/main" id="{A8A741D3-1451-843E-66F2-256A8CAD9666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046081" y="5265120"/>
            <a:ext cx="1602136" cy="179348"/>
          </a:xfrm>
        </p:spPr>
        <p:txBody>
          <a:bodyPr>
            <a:noAutofit/>
          </a:bodyPr>
          <a:lstStyle>
            <a:lvl1pPr marL="12600" indent="0">
              <a:spcBef>
                <a:spcPts val="100"/>
              </a:spcBef>
              <a:buNone/>
              <a:defRPr b="1" i="0"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Prénom Nom</a:t>
            </a:r>
          </a:p>
        </p:txBody>
      </p:sp>
      <p:sp>
        <p:nvSpPr>
          <p:cNvPr id="89" name="Espace réservé pour une image  6">
            <a:extLst>
              <a:ext uri="{FF2B5EF4-FFF2-40B4-BE49-F238E27FC236}">
                <a16:creationId xmlns:a16="http://schemas.microsoft.com/office/drawing/2014/main" id="{AE31B084-3548-248C-4AB7-68F70D608A54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9023265" y="4167190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90" name="Espace réservé pour une image  6">
            <a:extLst>
              <a:ext uri="{FF2B5EF4-FFF2-40B4-BE49-F238E27FC236}">
                <a16:creationId xmlns:a16="http://schemas.microsoft.com/office/drawing/2014/main" id="{24118740-43E9-ED0A-D86F-BF703AB0BA17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9023265" y="5316371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93" name="Espace réservé pour une image  6">
            <a:extLst>
              <a:ext uri="{FF2B5EF4-FFF2-40B4-BE49-F238E27FC236}">
                <a16:creationId xmlns:a16="http://schemas.microsoft.com/office/drawing/2014/main" id="{65BFE635-7CE9-38E8-9E37-6F7CC0D6EF21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023265" y="3021503"/>
            <a:ext cx="910189" cy="78364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None/>
              <a:tabLst/>
              <a:defRPr/>
            </a:pPr>
            <a:r>
              <a:rPr lang="fr-FR"/>
              <a:t>Portrait</a:t>
            </a:r>
          </a:p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E51B327-7EEE-C3E1-DE80-4517C13D2C3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577977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8C3008D3-8CD4-275E-4293-0D93D1DB90B9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4401385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46A61BC4-A7E5-2023-4386-87CDDFBB6F3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577977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E203BDC6-DE66-DE54-0E02-6ED882CB9974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401385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7AAE7F49-CDB2-B8CD-081C-4E08DEB41B47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7232817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F4923372-178C-AFB8-23F9-4425C7B78CF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7240841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3196FB84-6B1C-2C2E-21B0-71BB455C42C1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0040185" y="2096616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C897C63A-1317-3248-1A57-5D74C1C7115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0048209" y="3209622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917F602-25EE-0DCF-D463-23921FB5B2C4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7240841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D8DD32BC-B238-3259-31A8-8ACE14B8FDB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10048209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C38CACD-F52F-E0F1-E03F-3E31D725C13A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7240841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 dirty="0"/>
              <a:t>Rôl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7DB2C57B-5275-97F6-8FB5-F9A317B12E3A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10048209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5383AA3-31FE-3BFA-FBB2-C5DC1E233C17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4401389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21CD2F01-A256-E016-F660-CFB221ED7B22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4401389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0539009-343A-93BE-E48E-1A583BA00A2B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1577977" y="4374594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A5A22B45-C3C4-3791-DD14-BB8E426D64AF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1577977" y="5521605"/>
            <a:ext cx="1590676" cy="739775"/>
          </a:xfrm>
        </p:spPr>
        <p:txBody>
          <a:bodyPr>
            <a:normAutofit/>
          </a:bodyPr>
          <a:lstStyle>
            <a:lvl1pPr marL="12600" indent="0">
              <a:buNone/>
              <a:defRPr sz="1000"/>
            </a:lvl1pPr>
          </a:lstStyle>
          <a:p>
            <a:pPr lvl="0"/>
            <a:r>
              <a:rPr lang="fr-FR"/>
              <a:t>Rôle</a:t>
            </a:r>
          </a:p>
        </p:txBody>
      </p:sp>
      <p:sp>
        <p:nvSpPr>
          <p:cNvPr id="25" name="Espace réservé du texte 30">
            <a:extLst>
              <a:ext uri="{FF2B5EF4-FFF2-40B4-BE49-F238E27FC236}">
                <a16:creationId xmlns:a16="http://schemas.microsoft.com/office/drawing/2014/main" id="{86CBF254-6B06-3C9D-9AFE-54CDCBD932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8821C3F1-404F-4CE6-F4F0-EB45FF606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6E42260D-7AF4-EB7B-F66E-8868E7A72B63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18">
            <a:extLst>
              <a:ext uri="{FF2B5EF4-FFF2-40B4-BE49-F238E27FC236}">
                <a16:creationId xmlns:a16="http://schemas.microsoft.com/office/drawing/2014/main" id="{11639636-6AD0-42A1-09BF-0DDDEB31C0D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2855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>
          <p15:clr>
            <a:srgbClr val="FBAE40"/>
          </p15:clr>
        </p15:guide>
        <p15:guide id="2" pos="2116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5564">
          <p15:clr>
            <a:srgbClr val="FBAE40"/>
          </p15:clr>
        </p15:guide>
        <p15:guide id="6" pos="5676">
          <p15:clr>
            <a:srgbClr val="FBAE40"/>
          </p15:clr>
        </p15:guide>
        <p15:guide id="7" orient="horz" pos="1888">
          <p15:clr>
            <a:srgbClr val="FBAE40"/>
          </p15:clr>
        </p15:guide>
        <p15:guide id="8" orient="horz" pos="2614">
          <p15:clr>
            <a:srgbClr val="FBAE40"/>
          </p15:clr>
        </p15:guide>
        <p15:guide id="9" orient="horz" pos="333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36EF331-3C0F-E4D8-DDD2-CBB86C9651B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44648" y="1889131"/>
            <a:ext cx="3515068" cy="4429239"/>
          </a:xfrm>
        </p:spPr>
        <p:txBody>
          <a:bodyPr numCol="1" spcCol="216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</p:txBody>
      </p:sp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778527"/>
            <a:ext cx="8580800" cy="4406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 </a:t>
            </a:r>
          </a:p>
        </p:txBody>
      </p:sp>
      <p:sp>
        <p:nvSpPr>
          <p:cNvPr id="5" name="Espace réservé du texte 24">
            <a:extLst>
              <a:ext uri="{FF2B5EF4-FFF2-40B4-BE49-F238E27FC236}">
                <a16:creationId xmlns:a16="http://schemas.microsoft.com/office/drawing/2014/main" id="{1891301C-D57F-98E3-4111-CFE7F3D696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89126"/>
            <a:ext cx="3565523" cy="773697"/>
          </a:xfrm>
          <a:solidFill>
            <a:schemeClr val="accent3">
              <a:lumMod val="20000"/>
              <a:lumOff val="80000"/>
            </a:schemeClr>
          </a:solidFill>
        </p:spPr>
        <p:txBody>
          <a:bodyPr wrap="square" lIns="180000" tIns="180000" rIns="180000" bIns="144000">
            <a:spAutoFit/>
          </a:bodyPr>
          <a:lstStyle>
            <a:lvl1pPr marL="0" indent="0">
              <a:spcBef>
                <a:spcPts val="2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451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20" indent="0">
              <a:buFontTx/>
              <a:buNone/>
              <a:defRPr/>
            </a:lvl2pPr>
            <a:lvl3pPr marL="914242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4" indent="0">
              <a:buFontTx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Ici texte d’exergue y compris sur plusieurs lignes</a:t>
            </a:r>
            <a:endParaRPr lang="fr-FR" dirty="0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CCDA6969-C277-ADD0-FCF4-53D4040BFB8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087980" y="1881199"/>
            <a:ext cx="3553167" cy="16198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52CB31-424E-A5B7-8550-6E2CF1DC07E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7980" y="3612137"/>
            <a:ext cx="3553167" cy="345517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14" name="Espace réservé pour une image  7">
            <a:extLst>
              <a:ext uri="{FF2B5EF4-FFF2-40B4-BE49-F238E27FC236}">
                <a16:creationId xmlns:a16="http://schemas.microsoft.com/office/drawing/2014/main" id="{E145B5D3-C021-0C6E-AFAA-656182BCDF4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087980" y="4228983"/>
            <a:ext cx="3553167" cy="1619825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F443F88D-E06B-77EE-02A1-53F88BBDE7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75614" y="5959926"/>
            <a:ext cx="3565525" cy="345517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pPr lvl="0"/>
            <a:r>
              <a:rPr lang="fr-FR">
                <a:effectLst/>
              </a:rPr>
              <a:t>Légende</a:t>
            </a:r>
            <a:endParaRPr lang="fr-FR"/>
          </a:p>
        </p:txBody>
      </p:sp>
      <p:sp>
        <p:nvSpPr>
          <p:cNvPr id="9" name="Espace réservé du texte 30">
            <a:extLst>
              <a:ext uri="{FF2B5EF4-FFF2-40B4-BE49-F238E27FC236}">
                <a16:creationId xmlns:a16="http://schemas.microsoft.com/office/drawing/2014/main" id="{243EF88F-FDB7-0DC1-F115-39ABC91E69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7B778A1-6E7F-ED9D-D091-3FF43D10F4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165D0AA2-7BA9-8646-D7ED-7C4FEC5C4C2F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18">
            <a:extLst>
              <a:ext uri="{FF2B5EF4-FFF2-40B4-BE49-F238E27FC236}">
                <a16:creationId xmlns:a16="http://schemas.microsoft.com/office/drawing/2014/main" id="{393F18C6-38C8-79C2-0D48-C7F9E71B63D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7C872019-0549-C6FE-4BB4-B70CD4E52C55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550863" y="5006879"/>
            <a:ext cx="3565525" cy="1298564"/>
          </a:xfrm>
          <a:ln w="12700">
            <a:solidFill>
              <a:schemeClr val="accent5"/>
            </a:solidFill>
          </a:ln>
        </p:spPr>
        <p:txBody>
          <a:bodyPr lIns="180000" tIns="180000" rIns="180000" bIns="144000">
            <a:normAutofit/>
          </a:bodyPr>
          <a:lstStyle>
            <a:lvl1pPr>
              <a:defRPr sz="1400"/>
            </a:lvl1pPr>
          </a:lstStyle>
          <a:p>
            <a:pPr lvl="0"/>
            <a:r>
              <a:rPr lang="fr-FR" dirty="0">
                <a:effectLst/>
              </a:rPr>
              <a:t>Encadré réservé aux éléments atypiques.  À caler en bas à gauche </a:t>
            </a:r>
            <a:br>
              <a:rPr lang="fr-FR" dirty="0">
                <a:effectLst/>
              </a:rPr>
            </a:br>
            <a:r>
              <a:rPr lang="fr-FR" dirty="0">
                <a:effectLst/>
              </a:rPr>
              <a:t>en règle générale (aligner le cadre sur </a:t>
            </a:r>
            <a:br>
              <a:rPr lang="fr-FR" dirty="0">
                <a:effectLst/>
              </a:rPr>
            </a:br>
            <a:r>
              <a:rPr lang="fr-FR" dirty="0">
                <a:effectLst/>
              </a:rPr>
              <a:t>le repère du bas en déplaçant le blo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303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51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4 colon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CCDA6969-C277-ADD0-FCF4-53D4040BFB8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63226" y="1881190"/>
            <a:ext cx="3553167" cy="4427533"/>
          </a:xfrm>
        </p:spPr>
        <p:txBody>
          <a:bodyPr/>
          <a:lstStyle>
            <a:lvl1pPr marL="12600" indent="0">
              <a:buNone/>
              <a:defRPr/>
            </a:lvl1pPr>
          </a:lstStyle>
          <a:p>
            <a:endParaRPr lang="fr-FR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03AC7514-D396-4005-FC63-4591015AC337}"/>
              </a:ext>
            </a:extLst>
          </p:cNvPr>
          <p:cNvCxnSpPr>
            <a:cxnSpLocks/>
          </p:cNvCxnSpPr>
          <p:nvPr userDrawn="1"/>
        </p:nvCxnSpPr>
        <p:spPr>
          <a:xfrm>
            <a:off x="4343719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B9F80D75-B99C-C075-E8FB-080F729DB4FA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4343719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sp>
        <p:nvSpPr>
          <p:cNvPr id="25" name="Espace réservé du contenu 5">
            <a:extLst>
              <a:ext uri="{FF2B5EF4-FFF2-40B4-BE49-F238E27FC236}">
                <a16:creationId xmlns:a16="http://schemas.microsoft.com/office/drawing/2014/main" id="{4DD4B2BB-206B-7968-EA64-A43A8683338A}"/>
              </a:ext>
            </a:extLst>
          </p:cNvPr>
          <p:cNvSpPr>
            <a:spLocks noGrp="1" noChangeAspect="1"/>
          </p:cNvSpPr>
          <p:nvPr>
            <p:ph sz="quarter" idx="48" hasCustomPrompt="1"/>
          </p:nvPr>
        </p:nvSpPr>
        <p:spPr>
          <a:xfrm>
            <a:off x="6210817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3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AF842A80-47BE-DC0E-0724-C56CBA1241E9}"/>
              </a:ext>
            </a:extLst>
          </p:cNvPr>
          <p:cNvCxnSpPr>
            <a:cxnSpLocks/>
          </p:cNvCxnSpPr>
          <p:nvPr userDrawn="1"/>
        </p:nvCxnSpPr>
        <p:spPr>
          <a:xfrm>
            <a:off x="6205569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Espace réservé du contenu 5">
            <a:extLst>
              <a:ext uri="{FF2B5EF4-FFF2-40B4-BE49-F238E27FC236}">
                <a16:creationId xmlns:a16="http://schemas.microsoft.com/office/drawing/2014/main" id="{DC237B0A-A182-FA31-EA4B-8F209F7F8AD6}"/>
              </a:ext>
            </a:extLst>
          </p:cNvPr>
          <p:cNvSpPr>
            <a:spLocks noGrp="1" noChangeAspect="1"/>
          </p:cNvSpPr>
          <p:nvPr>
            <p:ph sz="quarter" idx="49" hasCustomPrompt="1"/>
          </p:nvPr>
        </p:nvSpPr>
        <p:spPr>
          <a:xfrm>
            <a:off x="8078176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F34888FD-B259-D1DF-96E5-8E5676F083F0}"/>
              </a:ext>
            </a:extLst>
          </p:cNvPr>
          <p:cNvCxnSpPr>
            <a:cxnSpLocks/>
          </p:cNvCxnSpPr>
          <p:nvPr userDrawn="1"/>
        </p:nvCxnSpPr>
        <p:spPr>
          <a:xfrm>
            <a:off x="8072928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contenu 5">
            <a:extLst>
              <a:ext uri="{FF2B5EF4-FFF2-40B4-BE49-F238E27FC236}">
                <a16:creationId xmlns:a16="http://schemas.microsoft.com/office/drawing/2014/main" id="{0799B484-2EA4-B8F3-C44C-DA55596194CF}"/>
              </a:ext>
            </a:extLst>
          </p:cNvPr>
          <p:cNvSpPr>
            <a:spLocks noGrp="1" noChangeAspect="1"/>
          </p:cNvSpPr>
          <p:nvPr>
            <p:ph sz="quarter" idx="50" hasCustomPrompt="1"/>
          </p:nvPr>
        </p:nvSpPr>
        <p:spPr>
          <a:xfrm>
            <a:off x="9956551" y="1881195"/>
            <a:ext cx="1655872" cy="56156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</a:t>
            </a:r>
            <a:r>
              <a:rPr lang="fr-FR" err="1"/>
              <a:t>picto</a:t>
            </a:r>
            <a:endParaRPr lang="fr-FR"/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21B91D52-3B21-022F-BCCE-78B97F421B14}"/>
              </a:ext>
            </a:extLst>
          </p:cNvPr>
          <p:cNvCxnSpPr>
            <a:cxnSpLocks/>
          </p:cNvCxnSpPr>
          <p:nvPr userDrawn="1"/>
        </p:nvCxnSpPr>
        <p:spPr>
          <a:xfrm>
            <a:off x="9951304" y="2487711"/>
            <a:ext cx="165587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Espace réservé du titre 13">
            <a:extLst>
              <a:ext uri="{FF2B5EF4-FFF2-40B4-BE49-F238E27FC236}">
                <a16:creationId xmlns:a16="http://schemas.microsoft.com/office/drawing/2014/main" id="{D367DBE5-8493-4B86-7957-4C82DAD7F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24"/>
            <a:ext cx="3565525" cy="33126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FB61B926-9658-5BD1-4CA5-E154AC0A61E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B88F2E68-E339-50FC-4DEE-97879704504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343719" y="765179"/>
            <a:ext cx="7297420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sp>
        <p:nvSpPr>
          <p:cNvPr id="3" name="Espace réservé du numéro de diapositive 18">
            <a:extLst>
              <a:ext uri="{FF2B5EF4-FFF2-40B4-BE49-F238E27FC236}">
                <a16:creationId xmlns:a16="http://schemas.microsoft.com/office/drawing/2014/main" id="{DA7F3C1D-A80D-1B7B-F64A-ECDE86AF790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E39F637C-B7C8-7B52-3833-8F30A72310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65DF305-4552-CE9B-D59F-9BDFF2935B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4E472CCD-C7AE-ED2B-E150-1A3C11C9490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F50D91FA-EF93-2614-D924-CB8F656FD09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43719" y="2624839"/>
            <a:ext cx="1655872" cy="3683891"/>
          </a:xfrm>
        </p:spPr>
        <p:txBody>
          <a:bodyPr>
            <a:normAutofit/>
          </a:bodyPr>
          <a:lstStyle>
            <a:lvl1pPr marL="12600" indent="0" algn="l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036407FD-7242-596F-C205-92004A54365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275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67693E9-C60F-5B01-00E5-FECDA98A5C1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00710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15381CDE-9528-FBA3-AC3A-B7929CBC270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59327" y="2624839"/>
            <a:ext cx="165587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606544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29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6131">
          <p15:clr>
            <a:srgbClr val="FBAE40"/>
          </p15:clr>
        </p15:guide>
        <p15:guide id="11" pos="626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775075"/>
            <a:ext cx="8580800" cy="6986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671655AF-21DD-2B4F-2F00-81BAECD1B3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6747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0D92BEAD-D11E-4DD8-5BB3-3F73292E650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13785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S EN CAPITALES</a:t>
            </a:r>
          </a:p>
        </p:txBody>
      </p:sp>
      <p:sp>
        <p:nvSpPr>
          <p:cNvPr id="56" name="Espace réservé du numéro de diapositive 18">
            <a:extLst>
              <a:ext uri="{FF2B5EF4-FFF2-40B4-BE49-F238E27FC236}">
                <a16:creationId xmlns:a16="http://schemas.microsoft.com/office/drawing/2014/main" id="{1FA71BE3-506D-F712-F1EC-BFDEF3922ED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7EF2FBA9-D0CC-5835-FDCA-95448AC9F8D5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382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7" pos="3841">
          <p15:clr>
            <a:srgbClr val="FBAE40"/>
          </p15:clr>
        </p15:guide>
        <p15:guide id="24" orient="horz" pos="1435">
          <p15:clr>
            <a:srgbClr val="5ACBF0"/>
          </p15:clr>
        </p15:guide>
        <p15:guide id="28" orient="horz" pos="1729">
          <p15:clr>
            <a:srgbClr val="5ACBF0"/>
          </p15:clr>
        </p15:guide>
        <p15:guide id="29" orient="horz" pos="1797">
          <p15:clr>
            <a:srgbClr val="5ACBF0"/>
          </p15:clr>
        </p15:guide>
        <p15:guide id="30" orient="horz" pos="2092">
          <p15:clr>
            <a:srgbClr val="5ACBF0"/>
          </p15:clr>
        </p15:guide>
        <p15:guide id="31" orient="horz" pos="2160">
          <p15:clr>
            <a:srgbClr val="5ACBF0"/>
          </p15:clr>
        </p15:guide>
        <p15:guide id="32" orient="horz" pos="2479">
          <p15:clr>
            <a:srgbClr val="5ACBF0"/>
          </p15:clr>
        </p15:guide>
        <p15:guide id="33" orient="horz" pos="2547">
          <p15:clr>
            <a:srgbClr val="5ACBF0"/>
          </p15:clr>
        </p15:guide>
        <p15:guide id="34" orient="horz" pos="2840">
          <p15:clr>
            <a:srgbClr val="5ACBF0"/>
          </p15:clr>
        </p15:guide>
        <p15:guide id="35" orient="horz" pos="2908">
          <p15:clr>
            <a:srgbClr val="5ACBF0"/>
          </p15:clr>
        </p15:guide>
        <p15:guide id="36" orient="horz" pos="3203">
          <p15:clr>
            <a:srgbClr val="5ACBF0"/>
          </p15:clr>
        </p15:guide>
        <p15:guide id="37" orient="horz" pos="3271">
          <p15:clr>
            <a:srgbClr val="5ACBF0"/>
          </p15:clr>
        </p15:guide>
        <p15:guide id="38" orient="horz" pos="3589">
          <p15:clr>
            <a:srgbClr val="5ACBF0"/>
          </p15:clr>
        </p15:guide>
        <p15:guide id="39" orient="horz" pos="3657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6B12E012-A7BB-18F4-B459-F6F2F95F40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7" y="3915860"/>
            <a:ext cx="3555331" cy="1123947"/>
          </a:xfrm>
        </p:spPr>
        <p:txBody>
          <a:bodyPr numCol="1" spcCol="288000">
            <a:normAutofit/>
          </a:bodyPr>
          <a:lstStyle>
            <a:lvl1pPr marL="0" indent="0" algn="l">
              <a:buClr>
                <a:schemeClr val="tx2"/>
              </a:buClr>
              <a:buSzPct val="120000"/>
              <a:buFont typeface="Police système Courant"/>
              <a:buNone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>
                <a:effectLst/>
              </a:rPr>
              <a:t>Conta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9D198-B074-D1E1-0446-AFE32E108AD3}"/>
              </a:ext>
            </a:extLst>
          </p:cNvPr>
          <p:cNvSpPr/>
          <p:nvPr userDrawn="1"/>
        </p:nvSpPr>
        <p:spPr>
          <a:xfrm>
            <a:off x="0" y="5274666"/>
            <a:ext cx="12292014" cy="163631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1" name="Image 10" descr="Une image contenant capture d’écran, gris, motif, tissu&#10;&#10;Description générée automatiquement">
            <a:extLst>
              <a:ext uri="{FF2B5EF4-FFF2-40B4-BE49-F238E27FC236}">
                <a16:creationId xmlns:a16="http://schemas.microsoft.com/office/drawing/2014/main" id="{7BC1F0BA-4F65-7C72-0FE5-8C855534AA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444"/>
          <a:stretch/>
        </p:blipFill>
        <p:spPr>
          <a:xfrm>
            <a:off x="0" y="5274664"/>
            <a:ext cx="12424717" cy="1641402"/>
          </a:xfrm>
          <a:prstGeom prst="rect">
            <a:avLst/>
          </a:prstGeom>
        </p:spPr>
      </p:pic>
      <p:pic>
        <p:nvPicPr>
          <p:cNvPr id="16" name="Image 15" descr="Une image contenant texte, logo, Graphique, Police&#10;&#10;Description générée automatiquement">
            <a:extLst>
              <a:ext uri="{FF2B5EF4-FFF2-40B4-BE49-F238E27FC236}">
                <a16:creationId xmlns:a16="http://schemas.microsoft.com/office/drawing/2014/main" id="{42890D3A-1A48-C92D-EF29-1A194943B8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8997" y="4214191"/>
            <a:ext cx="1880907" cy="1878629"/>
          </a:xfrm>
          <a:prstGeom prst="rect">
            <a:avLst/>
          </a:prstGeom>
        </p:spPr>
      </p:pic>
      <p:pic>
        <p:nvPicPr>
          <p:cNvPr id="18" name="Image 17" descr="Une image contenant texte, logo, Marque, cercle&#10;&#10;Description générée automatiquement">
            <a:extLst>
              <a:ext uri="{FF2B5EF4-FFF2-40B4-BE49-F238E27FC236}">
                <a16:creationId xmlns:a16="http://schemas.microsoft.com/office/drawing/2014/main" id="{8097CE81-671E-7255-C4D0-3D78D08D7C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2607" y="4239329"/>
            <a:ext cx="1853484" cy="1853484"/>
          </a:xfrm>
          <a:prstGeom prst="rect">
            <a:avLst/>
          </a:prstGeom>
        </p:spPr>
      </p:pic>
      <p:sp>
        <p:nvSpPr>
          <p:cNvPr id="2" name="Titre 2">
            <a:extLst>
              <a:ext uri="{FF2B5EF4-FFF2-40B4-BE49-F238E27FC236}">
                <a16:creationId xmlns:a16="http://schemas.microsoft.com/office/drawing/2014/main" id="{75062679-39B7-5FAD-11EE-A7072ABDC9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71" y="765179"/>
            <a:ext cx="7308842" cy="1123947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>
                <a:effectLst/>
              </a:rPr>
              <a:t>Ajouter du texte ic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5527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51">
          <p15:clr>
            <a:srgbClr val="FBAE40"/>
          </p15:clr>
        </p15:guide>
        <p15:guide id="3" pos="5087">
          <p15:clr>
            <a:srgbClr val="FBAE40"/>
          </p15:clr>
        </p15:guide>
        <p15:guide id="4" pos="4951">
          <p15:clr>
            <a:srgbClr val="FBAE40"/>
          </p15:clr>
        </p15:guide>
        <p15:guide id="7" orient="horz" pos="2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775075"/>
            <a:ext cx="8580800" cy="6986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671655AF-21DD-2B4F-2F00-81BAECD1B3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6747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0D92BEAD-D11E-4DD8-5BB3-3F73292E650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13785" y="1881197"/>
            <a:ext cx="2613026" cy="181375"/>
          </a:xfrm>
        </p:spPr>
        <p:txBody>
          <a:bodyPr/>
          <a:lstStyle>
            <a:lvl1pPr marL="12600" indent="0"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S EN CAPITALES</a:t>
            </a:r>
          </a:p>
        </p:txBody>
      </p:sp>
      <p:sp>
        <p:nvSpPr>
          <p:cNvPr id="7" name="Espace réservé du texte 30">
            <a:extLst>
              <a:ext uri="{FF2B5EF4-FFF2-40B4-BE49-F238E27FC236}">
                <a16:creationId xmlns:a16="http://schemas.microsoft.com/office/drawing/2014/main" id="{C913C772-B955-C727-E24C-347C81A2DF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7EADF9E-02CA-9284-02E5-24AE060CE4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56" name="Espace réservé du numéro de diapositive 18">
            <a:extLst>
              <a:ext uri="{FF2B5EF4-FFF2-40B4-BE49-F238E27FC236}">
                <a16:creationId xmlns:a16="http://schemas.microsoft.com/office/drawing/2014/main" id="{1FA71BE3-506D-F712-F1EC-BFDEF3922ED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58426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7EF2FBA9-D0CC-5835-FDCA-95448AC9F8D5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969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7" pos="3841">
          <p15:clr>
            <a:srgbClr val="FBAE40"/>
          </p15:clr>
        </p15:guide>
        <p15:guide id="24" orient="horz" pos="1435">
          <p15:clr>
            <a:srgbClr val="5ACBF0"/>
          </p15:clr>
        </p15:guide>
        <p15:guide id="28" orient="horz" pos="1729">
          <p15:clr>
            <a:srgbClr val="5ACBF0"/>
          </p15:clr>
        </p15:guide>
        <p15:guide id="29" orient="horz" pos="1797">
          <p15:clr>
            <a:srgbClr val="5ACBF0"/>
          </p15:clr>
        </p15:guide>
        <p15:guide id="30" orient="horz" pos="2092">
          <p15:clr>
            <a:srgbClr val="5ACBF0"/>
          </p15:clr>
        </p15:guide>
        <p15:guide id="31" orient="horz" pos="2160">
          <p15:clr>
            <a:srgbClr val="5ACBF0"/>
          </p15:clr>
        </p15:guide>
        <p15:guide id="32" orient="horz" pos="2479">
          <p15:clr>
            <a:srgbClr val="5ACBF0"/>
          </p15:clr>
        </p15:guide>
        <p15:guide id="33" orient="horz" pos="2547">
          <p15:clr>
            <a:srgbClr val="5ACBF0"/>
          </p15:clr>
        </p15:guide>
        <p15:guide id="34" orient="horz" pos="2840">
          <p15:clr>
            <a:srgbClr val="5ACBF0"/>
          </p15:clr>
        </p15:guide>
        <p15:guide id="35" orient="horz" pos="2908">
          <p15:clr>
            <a:srgbClr val="5ACBF0"/>
          </p15:clr>
        </p15:guide>
        <p15:guide id="36" orient="horz" pos="3203">
          <p15:clr>
            <a:srgbClr val="5ACBF0"/>
          </p15:clr>
        </p15:guide>
        <p15:guide id="37" orient="horz" pos="3271">
          <p15:clr>
            <a:srgbClr val="5ACBF0"/>
          </p15:clr>
        </p15:guide>
        <p15:guide id="38" orient="horz" pos="3589">
          <p15:clr>
            <a:srgbClr val="5ACBF0"/>
          </p15:clr>
        </p15:guide>
        <p15:guide id="39" orient="horz" pos="3657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2"/>
                  </a:solidFill>
                </a:ln>
                <a:noFill/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2B652F-3D8E-06D4-5A3E-1257A92BC80B}"/>
              </a:ext>
            </a:extLst>
          </p:cNvPr>
          <p:cNvSpPr/>
          <p:nvPr userDrawn="1"/>
        </p:nvSpPr>
        <p:spPr>
          <a:xfrm>
            <a:off x="0" y="4813300"/>
            <a:ext cx="12292014" cy="2044700"/>
          </a:xfrm>
          <a:prstGeom prst="rect">
            <a:avLst/>
          </a:prstGeom>
          <a:solidFill>
            <a:schemeClr val="accent2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D252252-96CF-3E75-6E1E-3D477BBACE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470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A6FB57-1640-4057-9088-A8309189C816}" type="datetime1">
              <a:rPr lang="en-US" smtClean="0"/>
              <a:t>4/30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résentation BBCA - lundi 26 octobre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1518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42295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 gauch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CF7F318E-B5D1-9E3E-BE9D-CA7FB0ABFE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791073" cy="6858000"/>
          </a:xfrm>
          <a:custGeom>
            <a:avLst/>
            <a:gdLst>
              <a:gd name="connsiteX0" fmla="*/ 0 w 5791073"/>
              <a:gd name="connsiteY0" fmla="*/ 0 h 6858000"/>
              <a:gd name="connsiteX1" fmla="*/ 5292915 w 5791073"/>
              <a:gd name="connsiteY1" fmla="*/ 0 h 6858000"/>
              <a:gd name="connsiteX2" fmla="*/ 5791073 w 5791073"/>
              <a:gd name="connsiteY2" fmla="*/ 3176778 h 6858000"/>
              <a:gd name="connsiteX3" fmla="*/ 5791073 w 5791073"/>
              <a:gd name="connsiteY3" fmla="*/ 3699193 h 6858000"/>
              <a:gd name="connsiteX4" fmla="*/ 5264213 w 5791073"/>
              <a:gd name="connsiteY4" fmla="*/ 6858000 h 6858000"/>
              <a:gd name="connsiteX5" fmla="*/ 0 w 579107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91073" h="6858000">
                <a:moveTo>
                  <a:pt x="0" y="0"/>
                </a:moveTo>
                <a:lnTo>
                  <a:pt x="5292915" y="0"/>
                </a:lnTo>
                <a:cubicBezTo>
                  <a:pt x="5629148" y="945007"/>
                  <a:pt x="5791073" y="2015744"/>
                  <a:pt x="5791073" y="3176778"/>
                </a:cubicBezTo>
                <a:lnTo>
                  <a:pt x="5791073" y="3699193"/>
                </a:lnTo>
                <a:cubicBezTo>
                  <a:pt x="5791073" y="4832795"/>
                  <a:pt x="5619940" y="5903024"/>
                  <a:pt x="5264213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63CCF-B50E-43E2-B311-B7FF363C6C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8805" y="700755"/>
            <a:ext cx="5148000" cy="3420000"/>
          </a:xfrm>
        </p:spPr>
        <p:txBody>
          <a:bodyPr anchor="b"/>
          <a:lstStyle>
            <a:lvl1pPr algn="l">
              <a:lnSpc>
                <a:spcPct val="70000"/>
              </a:lnSpc>
              <a:defRPr sz="6500"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9B31A9D-1902-444C-B300-462EDB479D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8805" y="4222681"/>
            <a:ext cx="5148000" cy="1061815"/>
          </a:xfrm>
        </p:spPr>
        <p:txBody>
          <a:bodyPr anchor="t"/>
          <a:lstStyle>
            <a:lvl1pPr marL="0" indent="0" algn="l">
              <a:lnSpc>
                <a:spcPct val="90000"/>
              </a:lnSpc>
              <a:buNone/>
              <a:defRPr sz="1700">
                <a:solidFill>
                  <a:srgbClr val="F0DCE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81FF628-7711-491B-813D-3158112D61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88807" y="6038397"/>
            <a:ext cx="1800000" cy="252000"/>
          </a:xfrm>
        </p:spPr>
        <p:txBody>
          <a:bodyPr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AE61D01-C63D-4CEF-8588-F67A5DA4E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46CF246-F05D-41FE-A1EA-1ABAE5906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B61339F-7C3C-484D-A5D1-34526AF296A3}"/>
              </a:ext>
            </a:extLst>
          </p:cNvPr>
          <p:cNvSpPr txBox="1"/>
          <p:nvPr userDrawn="1"/>
        </p:nvSpPr>
        <p:spPr>
          <a:xfrm>
            <a:off x="6588807" y="6220012"/>
            <a:ext cx="3060000" cy="252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000" b="0">
                <a:solidFill>
                  <a:schemeClr val="bg2"/>
                </a:solidFill>
                <a:latin typeface="+mj-lt"/>
              </a:rPr>
              <a:t>DOCUMENT DE CONFIDENTIALITÉ A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B9C5DE69-B3D1-FEAE-9BD4-9EAE9F9B7B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21" y="449613"/>
            <a:ext cx="1071762" cy="5943814"/>
          </a:xfrm>
          <a:custGeom>
            <a:avLst/>
            <a:gdLst>
              <a:gd name="connsiteX0" fmla="*/ 540418 w 1071762"/>
              <a:gd name="connsiteY0" fmla="*/ 4863266 h 5943814"/>
              <a:gd name="connsiteX1" fmla="*/ 1037671 w 1071762"/>
              <a:gd name="connsiteY1" fmla="*/ 4863266 h 5943814"/>
              <a:gd name="connsiteX2" fmla="*/ 1071636 w 1071762"/>
              <a:gd name="connsiteY2" fmla="*/ 5021170 h 5943814"/>
              <a:gd name="connsiteX3" fmla="*/ 1071636 w 1071762"/>
              <a:gd name="connsiteY3" fmla="*/ 5042948 h 5943814"/>
              <a:gd name="connsiteX4" fmla="*/ 1037747 w 1071762"/>
              <a:gd name="connsiteY4" fmla="*/ 5205073 h 5943814"/>
              <a:gd name="connsiteX5" fmla="*/ 529806 w 1071762"/>
              <a:gd name="connsiteY5" fmla="*/ 5205073 h 5943814"/>
              <a:gd name="connsiteX6" fmla="*/ 399466 w 1071762"/>
              <a:gd name="connsiteY6" fmla="*/ 5241912 h 5943814"/>
              <a:gd name="connsiteX7" fmla="*/ 319273 w 1071762"/>
              <a:gd name="connsiteY7" fmla="*/ 5377269 h 5943814"/>
              <a:gd name="connsiteX8" fmla="*/ 358758 w 1071762"/>
              <a:gd name="connsiteY8" fmla="*/ 5525872 h 5943814"/>
              <a:gd name="connsiteX9" fmla="*/ 529819 w 1071762"/>
              <a:gd name="connsiteY9" fmla="*/ 5602536 h 5943814"/>
              <a:gd name="connsiteX10" fmla="*/ 1037860 w 1071762"/>
              <a:gd name="connsiteY10" fmla="*/ 5602536 h 5943814"/>
              <a:gd name="connsiteX11" fmla="*/ 1071649 w 1071762"/>
              <a:gd name="connsiteY11" fmla="*/ 5760112 h 5943814"/>
              <a:gd name="connsiteX12" fmla="*/ 1071649 w 1071762"/>
              <a:gd name="connsiteY12" fmla="*/ 5781890 h 5943814"/>
              <a:gd name="connsiteX13" fmla="*/ 1037696 w 1071762"/>
              <a:gd name="connsiteY13" fmla="*/ 5943814 h 5943814"/>
              <a:gd name="connsiteX14" fmla="*/ 52240 w 1071762"/>
              <a:gd name="connsiteY14" fmla="*/ 5943814 h 5943814"/>
              <a:gd name="connsiteX15" fmla="*/ 18274 w 1071762"/>
              <a:gd name="connsiteY15" fmla="*/ 5786225 h 5943814"/>
              <a:gd name="connsiteX16" fmla="*/ 18274 w 1071762"/>
              <a:gd name="connsiteY16" fmla="*/ 5764485 h 5943814"/>
              <a:gd name="connsiteX17" fmla="*/ 52240 w 1071762"/>
              <a:gd name="connsiteY17" fmla="*/ 5618479 h 5943814"/>
              <a:gd name="connsiteX18" fmla="*/ 0 w 1071762"/>
              <a:gd name="connsiteY18" fmla="*/ 5403710 h 5943814"/>
              <a:gd name="connsiteX19" fmla="*/ 142175 w 1071762"/>
              <a:gd name="connsiteY19" fmla="*/ 5014314 h 5943814"/>
              <a:gd name="connsiteX20" fmla="*/ 540418 w 1071762"/>
              <a:gd name="connsiteY20" fmla="*/ 4863266 h 5943814"/>
              <a:gd name="connsiteX21" fmla="*/ 414639 w 1071762"/>
              <a:gd name="connsiteY21" fmla="*/ 4013013 h 5943814"/>
              <a:gd name="connsiteX22" fmla="*/ 405855 w 1071762"/>
              <a:gd name="connsiteY22" fmla="*/ 4015370 h 5943814"/>
              <a:gd name="connsiteX23" fmla="*/ 254593 w 1071762"/>
              <a:gd name="connsiteY23" fmla="*/ 4200748 h 5943814"/>
              <a:gd name="connsiteX24" fmla="*/ 254606 w 1071762"/>
              <a:gd name="connsiteY24" fmla="*/ 4200748 h 5943814"/>
              <a:gd name="connsiteX25" fmla="*/ 405615 w 1071762"/>
              <a:gd name="connsiteY25" fmla="*/ 4381804 h 5943814"/>
              <a:gd name="connsiteX26" fmla="*/ 414639 w 1071762"/>
              <a:gd name="connsiteY26" fmla="*/ 4384589 h 5943814"/>
              <a:gd name="connsiteX27" fmla="*/ 560734 w 1071762"/>
              <a:gd name="connsiteY27" fmla="*/ 3674117 h 5943814"/>
              <a:gd name="connsiteX28" fmla="*/ 628525 w 1071762"/>
              <a:gd name="connsiteY28" fmla="*/ 3675604 h 5943814"/>
              <a:gd name="connsiteX29" fmla="*/ 628525 w 1071762"/>
              <a:gd name="connsiteY29" fmla="*/ 4388521 h 5943814"/>
              <a:gd name="connsiteX30" fmla="*/ 637221 w 1071762"/>
              <a:gd name="connsiteY30" fmla="*/ 4386291 h 5943814"/>
              <a:gd name="connsiteX31" fmla="*/ 813185 w 1071762"/>
              <a:gd name="connsiteY31" fmla="*/ 4149731 h 5943814"/>
              <a:gd name="connsiteX32" fmla="*/ 708391 w 1071762"/>
              <a:gd name="connsiteY32" fmla="*/ 3911962 h 5943814"/>
              <a:gd name="connsiteX33" fmla="*/ 762609 w 1071762"/>
              <a:gd name="connsiteY33" fmla="*/ 3805706 h 5943814"/>
              <a:gd name="connsiteX34" fmla="*/ 772805 w 1071762"/>
              <a:gd name="connsiteY34" fmla="*/ 3793103 h 5943814"/>
              <a:gd name="connsiteX35" fmla="*/ 866508 w 1071762"/>
              <a:gd name="connsiteY35" fmla="*/ 3716426 h 5943814"/>
              <a:gd name="connsiteX36" fmla="*/ 1071472 w 1071762"/>
              <a:gd name="connsiteY36" fmla="*/ 4167375 h 5943814"/>
              <a:gd name="connsiteX37" fmla="*/ 1071484 w 1071762"/>
              <a:gd name="connsiteY37" fmla="*/ 4167375 h 5943814"/>
              <a:gd name="connsiteX38" fmla="*/ 539649 w 1071762"/>
              <a:gd name="connsiteY38" fmla="*/ 4729333 h 5943814"/>
              <a:gd name="connsiteX39" fmla="*/ 535805 w 1071762"/>
              <a:gd name="connsiteY39" fmla="*/ 4729333 h 5943814"/>
              <a:gd name="connsiteX40" fmla="*/ 138 w 1071762"/>
              <a:gd name="connsiteY40" fmla="*/ 4200748 h 5943814"/>
              <a:gd name="connsiteX41" fmla="*/ 167040 w 1071762"/>
              <a:gd name="connsiteY41" fmla="*/ 3802492 h 5943814"/>
              <a:gd name="connsiteX42" fmla="*/ 560734 w 1071762"/>
              <a:gd name="connsiteY42" fmla="*/ 3674117 h 5943814"/>
              <a:gd name="connsiteX43" fmla="*/ 1071762 w 1071762"/>
              <a:gd name="connsiteY43" fmla="*/ 3342456 h 5943814"/>
              <a:gd name="connsiteX44" fmla="*/ 1071762 w 1071762"/>
              <a:gd name="connsiteY44" fmla="*/ 3342469 h 5943814"/>
              <a:gd name="connsiteX45" fmla="*/ 1071758 w 1071762"/>
              <a:gd name="connsiteY45" fmla="*/ 3342465 h 5943814"/>
              <a:gd name="connsiteX46" fmla="*/ 830451 w 1071762"/>
              <a:gd name="connsiteY46" fmla="*/ 2512154 h 5943814"/>
              <a:gd name="connsiteX47" fmla="*/ 965883 w 1071762"/>
              <a:gd name="connsiteY47" fmla="*/ 2599569 h 5943814"/>
              <a:gd name="connsiteX48" fmla="*/ 981247 w 1071762"/>
              <a:gd name="connsiteY48" fmla="*/ 2614932 h 5943814"/>
              <a:gd name="connsiteX49" fmla="*/ 1071724 w 1071762"/>
              <a:gd name="connsiteY49" fmla="*/ 2753415 h 5943814"/>
              <a:gd name="connsiteX50" fmla="*/ 777720 w 1071762"/>
              <a:gd name="connsiteY50" fmla="*/ 3047948 h 5943814"/>
              <a:gd name="connsiteX51" fmla="*/ 1071758 w 1071762"/>
              <a:gd name="connsiteY51" fmla="*/ 3342465 h 5943814"/>
              <a:gd name="connsiteX52" fmla="*/ 1038102 w 1071762"/>
              <a:gd name="connsiteY52" fmla="*/ 3412075 h 5943814"/>
              <a:gd name="connsiteX53" fmla="*/ 984347 w 1071762"/>
              <a:gd name="connsiteY53" fmla="*/ 3477876 h 5943814"/>
              <a:gd name="connsiteX54" fmla="*/ 968984 w 1071762"/>
              <a:gd name="connsiteY54" fmla="*/ 3493239 h 5943814"/>
              <a:gd name="connsiteX55" fmla="*/ 830489 w 1071762"/>
              <a:gd name="connsiteY55" fmla="*/ 3583729 h 5943814"/>
              <a:gd name="connsiteX56" fmla="*/ 604743 w 1071762"/>
              <a:gd name="connsiteY56" fmla="*/ 3354832 h 5943814"/>
              <a:gd name="connsiteX57" fmla="*/ 467131 w 1071762"/>
              <a:gd name="connsiteY57" fmla="*/ 3354832 h 5943814"/>
              <a:gd name="connsiteX58" fmla="*/ 241448 w 1071762"/>
              <a:gd name="connsiteY58" fmla="*/ 3583716 h 5943814"/>
              <a:gd name="connsiteX59" fmla="*/ 106016 w 1071762"/>
              <a:gd name="connsiteY59" fmla="*/ 3496339 h 5943814"/>
              <a:gd name="connsiteX60" fmla="*/ 90653 w 1071762"/>
              <a:gd name="connsiteY60" fmla="*/ 3480976 h 5943814"/>
              <a:gd name="connsiteX61" fmla="*/ 176 w 1071762"/>
              <a:gd name="connsiteY61" fmla="*/ 3342481 h 5943814"/>
              <a:gd name="connsiteX62" fmla="*/ 294179 w 1071762"/>
              <a:gd name="connsiteY62" fmla="*/ 3047948 h 5943814"/>
              <a:gd name="connsiteX63" fmla="*/ 138 w 1071762"/>
              <a:gd name="connsiteY63" fmla="*/ 2753402 h 5943814"/>
              <a:gd name="connsiteX64" fmla="*/ 87553 w 1071762"/>
              <a:gd name="connsiteY64" fmla="*/ 2618020 h 5943814"/>
              <a:gd name="connsiteX65" fmla="*/ 102916 w 1071762"/>
              <a:gd name="connsiteY65" fmla="*/ 2602657 h 5943814"/>
              <a:gd name="connsiteX66" fmla="*/ 241411 w 1071762"/>
              <a:gd name="connsiteY66" fmla="*/ 2512179 h 5943814"/>
              <a:gd name="connsiteX67" fmla="*/ 467143 w 1071762"/>
              <a:gd name="connsiteY67" fmla="*/ 2741215 h 5943814"/>
              <a:gd name="connsiteX68" fmla="*/ 604743 w 1071762"/>
              <a:gd name="connsiteY68" fmla="*/ 2741215 h 5943814"/>
              <a:gd name="connsiteX69" fmla="*/ 34090 w 1071762"/>
              <a:gd name="connsiteY69" fmla="*/ 1993186 h 5943814"/>
              <a:gd name="connsiteX70" fmla="*/ 1037695 w 1071762"/>
              <a:gd name="connsiteY70" fmla="*/ 1993186 h 5943814"/>
              <a:gd name="connsiteX71" fmla="*/ 1071647 w 1071762"/>
              <a:gd name="connsiteY71" fmla="*/ 2151064 h 5943814"/>
              <a:gd name="connsiteX72" fmla="*/ 1071647 w 1071762"/>
              <a:gd name="connsiteY72" fmla="*/ 2172830 h 5943814"/>
              <a:gd name="connsiteX73" fmla="*/ 1071660 w 1071762"/>
              <a:gd name="connsiteY73" fmla="*/ 2172830 h 5943814"/>
              <a:gd name="connsiteX74" fmla="*/ 1037707 w 1071762"/>
              <a:gd name="connsiteY74" fmla="*/ 2335069 h 5943814"/>
              <a:gd name="connsiteX75" fmla="*/ 34090 w 1071762"/>
              <a:gd name="connsiteY75" fmla="*/ 2335069 h 5943814"/>
              <a:gd name="connsiteX76" fmla="*/ 137 w 1071762"/>
              <a:gd name="connsiteY76" fmla="*/ 2177191 h 5943814"/>
              <a:gd name="connsiteX77" fmla="*/ 137 w 1071762"/>
              <a:gd name="connsiteY77" fmla="*/ 2155425 h 5943814"/>
              <a:gd name="connsiteX78" fmla="*/ 34090 w 1071762"/>
              <a:gd name="connsiteY78" fmla="*/ 1993186 h 5943814"/>
              <a:gd name="connsiteX79" fmla="*/ 888211 w 1071762"/>
              <a:gd name="connsiteY79" fmla="*/ 1024566 h 5943814"/>
              <a:gd name="connsiteX80" fmla="*/ 909914 w 1071762"/>
              <a:gd name="connsiteY80" fmla="*/ 1024566 h 5943814"/>
              <a:gd name="connsiteX81" fmla="*/ 1071737 w 1071762"/>
              <a:gd name="connsiteY81" fmla="*/ 1058430 h 5943814"/>
              <a:gd name="connsiteX82" fmla="*/ 1071737 w 1071762"/>
              <a:gd name="connsiteY82" fmla="*/ 1312508 h 5943814"/>
              <a:gd name="connsiteX83" fmla="*/ 605475 w 1071762"/>
              <a:gd name="connsiteY83" fmla="*/ 1786583 h 5943814"/>
              <a:gd name="connsiteX84" fmla="*/ 34255 w 1071762"/>
              <a:gd name="connsiteY84" fmla="*/ 1786583 h 5943814"/>
              <a:gd name="connsiteX85" fmla="*/ 378 w 1071762"/>
              <a:gd name="connsiteY85" fmla="*/ 1629122 h 5943814"/>
              <a:gd name="connsiteX86" fmla="*/ 378 w 1071762"/>
              <a:gd name="connsiteY86" fmla="*/ 1607406 h 5943814"/>
              <a:gd name="connsiteX87" fmla="*/ 34255 w 1071762"/>
              <a:gd name="connsiteY87" fmla="*/ 1445595 h 5943814"/>
              <a:gd name="connsiteX88" fmla="*/ 170544 w 1071762"/>
              <a:gd name="connsiteY88" fmla="*/ 1445596 h 5943814"/>
              <a:gd name="connsiteX89" fmla="*/ 170544 w 1071762"/>
              <a:gd name="connsiteY89" fmla="*/ 1205079 h 5943814"/>
              <a:gd name="connsiteX90" fmla="*/ 328007 w 1071762"/>
              <a:gd name="connsiteY90" fmla="*/ 1171215 h 5943814"/>
              <a:gd name="connsiteX91" fmla="*/ 349722 w 1071762"/>
              <a:gd name="connsiteY91" fmla="*/ 1171215 h 5943814"/>
              <a:gd name="connsiteX92" fmla="*/ 511545 w 1071762"/>
              <a:gd name="connsiteY92" fmla="*/ 1205092 h 5943814"/>
              <a:gd name="connsiteX93" fmla="*/ 511545 w 1071762"/>
              <a:gd name="connsiteY93" fmla="*/ 1445609 h 5943814"/>
              <a:gd name="connsiteX94" fmla="*/ 597661 w 1071762"/>
              <a:gd name="connsiteY94" fmla="*/ 1445609 h 5943814"/>
              <a:gd name="connsiteX95" fmla="*/ 730737 w 1071762"/>
              <a:gd name="connsiteY95" fmla="*/ 1312533 h 5943814"/>
              <a:gd name="connsiteX96" fmla="*/ 730737 w 1071762"/>
              <a:gd name="connsiteY96" fmla="*/ 1058430 h 5943814"/>
              <a:gd name="connsiteX97" fmla="*/ 888211 w 1071762"/>
              <a:gd name="connsiteY97" fmla="*/ 1024566 h 5943814"/>
              <a:gd name="connsiteX98" fmla="*/ 241788 w 1071762"/>
              <a:gd name="connsiteY98" fmla="*/ 0 h 5943814"/>
              <a:gd name="connsiteX99" fmla="*/ 545029 w 1071762"/>
              <a:gd name="connsiteY99" fmla="*/ 303230 h 5943814"/>
              <a:gd name="connsiteX100" fmla="*/ 693783 w 1071762"/>
              <a:gd name="connsiteY100" fmla="*/ 364846 h 5943814"/>
              <a:gd name="connsiteX101" fmla="*/ 1037695 w 1071762"/>
              <a:gd name="connsiteY101" fmla="*/ 364846 h 5943814"/>
              <a:gd name="connsiteX102" fmla="*/ 1071635 w 1071762"/>
              <a:gd name="connsiteY102" fmla="*/ 522674 h 5943814"/>
              <a:gd name="connsiteX103" fmla="*/ 1071635 w 1071762"/>
              <a:gd name="connsiteY103" fmla="*/ 544439 h 5943814"/>
              <a:gd name="connsiteX104" fmla="*/ 1071647 w 1071762"/>
              <a:gd name="connsiteY104" fmla="*/ 544439 h 5943814"/>
              <a:gd name="connsiteX105" fmla="*/ 1037707 w 1071762"/>
              <a:gd name="connsiteY105" fmla="*/ 706628 h 5943814"/>
              <a:gd name="connsiteX106" fmla="*/ 693808 w 1071762"/>
              <a:gd name="connsiteY106" fmla="*/ 706628 h 5943814"/>
              <a:gd name="connsiteX107" fmla="*/ 545055 w 1071762"/>
              <a:gd name="connsiteY107" fmla="*/ 768257 h 5943814"/>
              <a:gd name="connsiteX108" fmla="*/ 241813 w 1071762"/>
              <a:gd name="connsiteY108" fmla="*/ 1071499 h 5943814"/>
              <a:gd name="connsiteX109" fmla="*/ 106078 w 1071762"/>
              <a:gd name="connsiteY109" fmla="*/ 983996 h 5943814"/>
              <a:gd name="connsiteX110" fmla="*/ 90728 w 1071762"/>
              <a:gd name="connsiteY110" fmla="*/ 968633 h 5943814"/>
              <a:gd name="connsiteX111" fmla="*/ 150 w 1071762"/>
              <a:gd name="connsiteY111" fmla="*/ 829810 h 5943814"/>
              <a:gd name="connsiteX112" fmla="*/ 294204 w 1071762"/>
              <a:gd name="connsiteY112" fmla="*/ 535743 h 5943814"/>
              <a:gd name="connsiteX113" fmla="*/ 112 w 1071762"/>
              <a:gd name="connsiteY113" fmla="*/ 241676 h 5943814"/>
              <a:gd name="connsiteX114" fmla="*/ 87615 w 1071762"/>
              <a:gd name="connsiteY114" fmla="*/ 105941 h 5943814"/>
              <a:gd name="connsiteX115" fmla="*/ 102965 w 1071762"/>
              <a:gd name="connsiteY115" fmla="*/ 90578 h 5943814"/>
              <a:gd name="connsiteX116" fmla="*/ 241788 w 1071762"/>
              <a:gd name="connsiteY116" fmla="*/ 0 h 594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1071762" h="5943814">
                <a:moveTo>
                  <a:pt x="540418" y="4863266"/>
                </a:moveTo>
                <a:lnTo>
                  <a:pt x="1037671" y="4863266"/>
                </a:lnTo>
                <a:cubicBezTo>
                  <a:pt x="1060205" y="4907994"/>
                  <a:pt x="1071636" y="4961103"/>
                  <a:pt x="1071636" y="5021170"/>
                </a:cubicBezTo>
                <a:lnTo>
                  <a:pt x="1071636" y="5042948"/>
                </a:lnTo>
                <a:cubicBezTo>
                  <a:pt x="1071636" y="5105761"/>
                  <a:pt x="1060230" y="5160282"/>
                  <a:pt x="1037747" y="5205073"/>
                </a:cubicBezTo>
                <a:cubicBezTo>
                  <a:pt x="875041" y="5204922"/>
                  <a:pt x="692890" y="5205086"/>
                  <a:pt x="529806" y="5205073"/>
                </a:cubicBezTo>
                <a:cubicBezTo>
                  <a:pt x="482847" y="5205073"/>
                  <a:pt x="438586" y="5214715"/>
                  <a:pt x="399466" y="5241912"/>
                </a:cubicBezTo>
                <a:cubicBezTo>
                  <a:pt x="352242" y="5274756"/>
                  <a:pt x="325713" y="5320215"/>
                  <a:pt x="319273" y="5377269"/>
                </a:cubicBezTo>
                <a:cubicBezTo>
                  <a:pt x="313110" y="5431878"/>
                  <a:pt x="324768" y="5482089"/>
                  <a:pt x="358758" y="5525872"/>
                </a:cubicBezTo>
                <a:cubicBezTo>
                  <a:pt x="402717" y="5582484"/>
                  <a:pt x="463703" y="5602422"/>
                  <a:pt x="529819" y="5602536"/>
                </a:cubicBezTo>
                <a:cubicBezTo>
                  <a:pt x="691642" y="5602801"/>
                  <a:pt x="876377" y="5602750"/>
                  <a:pt x="1037860" y="5602536"/>
                </a:cubicBezTo>
                <a:cubicBezTo>
                  <a:pt x="1060281" y="5647201"/>
                  <a:pt x="1071649" y="5700197"/>
                  <a:pt x="1071649" y="5760112"/>
                </a:cubicBezTo>
                <a:lnTo>
                  <a:pt x="1071649" y="5781890"/>
                </a:lnTo>
                <a:cubicBezTo>
                  <a:pt x="1071649" y="5844754"/>
                  <a:pt x="1060230" y="5898985"/>
                  <a:pt x="1037696" y="5943814"/>
                </a:cubicBezTo>
                <a:lnTo>
                  <a:pt x="52240" y="5943814"/>
                </a:lnTo>
                <a:cubicBezTo>
                  <a:pt x="29705" y="5899149"/>
                  <a:pt x="18287" y="5846166"/>
                  <a:pt x="18274" y="5786225"/>
                </a:cubicBezTo>
                <a:lnTo>
                  <a:pt x="18274" y="5764485"/>
                </a:lnTo>
                <a:cubicBezTo>
                  <a:pt x="18274" y="5683158"/>
                  <a:pt x="52240" y="5618479"/>
                  <a:pt x="52240" y="5618479"/>
                </a:cubicBezTo>
                <a:cubicBezTo>
                  <a:pt x="23341" y="5551153"/>
                  <a:pt x="0" y="5477375"/>
                  <a:pt x="0" y="5403710"/>
                </a:cubicBezTo>
                <a:cubicBezTo>
                  <a:pt x="0" y="5257338"/>
                  <a:pt x="32768" y="5125939"/>
                  <a:pt x="142175" y="5014314"/>
                </a:cubicBezTo>
                <a:cubicBezTo>
                  <a:pt x="239180" y="4915367"/>
                  <a:pt x="391400" y="4866518"/>
                  <a:pt x="540418" y="4863266"/>
                </a:cubicBezTo>
                <a:close/>
                <a:moveTo>
                  <a:pt x="414639" y="4013013"/>
                </a:moveTo>
                <a:lnTo>
                  <a:pt x="405855" y="4015370"/>
                </a:lnTo>
                <a:cubicBezTo>
                  <a:pt x="311143" y="4040778"/>
                  <a:pt x="254593" y="4110082"/>
                  <a:pt x="254593" y="4200748"/>
                </a:cubicBezTo>
                <a:lnTo>
                  <a:pt x="254606" y="4200748"/>
                </a:lnTo>
                <a:cubicBezTo>
                  <a:pt x="254606" y="4287457"/>
                  <a:pt x="308232" y="4351758"/>
                  <a:pt x="405615" y="4381804"/>
                </a:cubicBezTo>
                <a:lnTo>
                  <a:pt x="414639" y="4384589"/>
                </a:lnTo>
                <a:close/>
                <a:moveTo>
                  <a:pt x="560734" y="3674117"/>
                </a:moveTo>
                <a:cubicBezTo>
                  <a:pt x="581957" y="3674117"/>
                  <a:pt x="605777" y="3674117"/>
                  <a:pt x="628525" y="3675604"/>
                </a:cubicBezTo>
                <a:lnTo>
                  <a:pt x="628525" y="4388521"/>
                </a:lnTo>
                <a:lnTo>
                  <a:pt x="637221" y="4386291"/>
                </a:lnTo>
                <a:cubicBezTo>
                  <a:pt x="752338" y="4356837"/>
                  <a:pt x="813185" y="4275031"/>
                  <a:pt x="813185" y="4149731"/>
                </a:cubicBezTo>
                <a:cubicBezTo>
                  <a:pt x="813185" y="4058120"/>
                  <a:pt x="782774" y="3988992"/>
                  <a:pt x="708391" y="3911962"/>
                </a:cubicBezTo>
                <a:cubicBezTo>
                  <a:pt x="716583" y="3875779"/>
                  <a:pt x="734819" y="3840049"/>
                  <a:pt x="762609" y="3805706"/>
                </a:cubicBezTo>
                <a:lnTo>
                  <a:pt x="772805" y="3793103"/>
                </a:lnTo>
                <a:cubicBezTo>
                  <a:pt x="801830" y="3757260"/>
                  <a:pt x="833337" y="3731486"/>
                  <a:pt x="866508" y="3716426"/>
                </a:cubicBezTo>
                <a:cubicBezTo>
                  <a:pt x="1004423" y="3827421"/>
                  <a:pt x="1071472" y="3974977"/>
                  <a:pt x="1071472" y="4167375"/>
                </a:cubicBezTo>
                <a:lnTo>
                  <a:pt x="1071484" y="4167375"/>
                </a:lnTo>
                <a:cubicBezTo>
                  <a:pt x="1071484" y="4498243"/>
                  <a:pt x="852796" y="4729333"/>
                  <a:pt x="539649" y="4729333"/>
                </a:cubicBezTo>
                <a:lnTo>
                  <a:pt x="535805" y="4729333"/>
                </a:lnTo>
                <a:cubicBezTo>
                  <a:pt x="230433" y="4729333"/>
                  <a:pt x="138" y="4502087"/>
                  <a:pt x="138" y="4200748"/>
                </a:cubicBezTo>
                <a:cubicBezTo>
                  <a:pt x="138" y="4032611"/>
                  <a:pt x="57835" y="3894897"/>
                  <a:pt x="167040" y="3802492"/>
                </a:cubicBezTo>
                <a:cubicBezTo>
                  <a:pt x="266302" y="3718505"/>
                  <a:pt x="402440" y="3674117"/>
                  <a:pt x="560734" y="3674117"/>
                </a:cubicBezTo>
                <a:close/>
                <a:moveTo>
                  <a:pt x="1071762" y="3342456"/>
                </a:moveTo>
                <a:lnTo>
                  <a:pt x="1071762" y="3342469"/>
                </a:lnTo>
                <a:lnTo>
                  <a:pt x="1071758" y="3342465"/>
                </a:lnTo>
                <a:close/>
                <a:moveTo>
                  <a:pt x="830451" y="2512154"/>
                </a:moveTo>
                <a:cubicBezTo>
                  <a:pt x="877939" y="2527782"/>
                  <a:pt x="923487" y="2557173"/>
                  <a:pt x="965883" y="2599569"/>
                </a:cubicBezTo>
                <a:lnTo>
                  <a:pt x="981247" y="2614932"/>
                </a:lnTo>
                <a:cubicBezTo>
                  <a:pt x="1025597" y="2659270"/>
                  <a:pt x="1056008" y="2705838"/>
                  <a:pt x="1071724" y="2753415"/>
                </a:cubicBezTo>
                <a:lnTo>
                  <a:pt x="777720" y="3047948"/>
                </a:lnTo>
                <a:lnTo>
                  <a:pt x="1071758" y="3342465"/>
                </a:lnTo>
                <a:lnTo>
                  <a:pt x="1038102" y="3412075"/>
                </a:lnTo>
                <a:cubicBezTo>
                  <a:pt x="1023501" y="3434695"/>
                  <a:pt x="1005551" y="3456678"/>
                  <a:pt x="984347" y="3477876"/>
                </a:cubicBezTo>
                <a:lnTo>
                  <a:pt x="968984" y="3493239"/>
                </a:lnTo>
                <a:cubicBezTo>
                  <a:pt x="924621" y="3537602"/>
                  <a:pt x="878053" y="3568026"/>
                  <a:pt x="830489" y="3583729"/>
                </a:cubicBezTo>
                <a:lnTo>
                  <a:pt x="604743" y="3354832"/>
                </a:lnTo>
                <a:cubicBezTo>
                  <a:pt x="566733" y="3316884"/>
                  <a:pt x="505142" y="3316884"/>
                  <a:pt x="467131" y="3354832"/>
                </a:cubicBezTo>
                <a:lnTo>
                  <a:pt x="241448" y="3583716"/>
                </a:lnTo>
                <a:cubicBezTo>
                  <a:pt x="193960" y="3568089"/>
                  <a:pt x="148413" y="3538724"/>
                  <a:pt x="106016" y="3496339"/>
                </a:cubicBezTo>
                <a:lnTo>
                  <a:pt x="90653" y="3480976"/>
                </a:lnTo>
                <a:cubicBezTo>
                  <a:pt x="46290" y="3436614"/>
                  <a:pt x="15854" y="3390045"/>
                  <a:pt x="176" y="3342481"/>
                </a:cubicBezTo>
                <a:lnTo>
                  <a:pt x="294179" y="3047948"/>
                </a:lnTo>
                <a:lnTo>
                  <a:pt x="138" y="2753402"/>
                </a:lnTo>
                <a:cubicBezTo>
                  <a:pt x="15753" y="2705914"/>
                  <a:pt x="45143" y="2660417"/>
                  <a:pt x="87553" y="2618020"/>
                </a:cubicBezTo>
                <a:lnTo>
                  <a:pt x="102916" y="2602657"/>
                </a:lnTo>
                <a:cubicBezTo>
                  <a:pt x="147278" y="2558294"/>
                  <a:pt x="193847" y="2527870"/>
                  <a:pt x="241411" y="2512179"/>
                </a:cubicBezTo>
                <a:lnTo>
                  <a:pt x="467143" y="2741215"/>
                </a:lnTo>
                <a:cubicBezTo>
                  <a:pt x="505154" y="2779163"/>
                  <a:pt x="566733" y="2779163"/>
                  <a:pt x="604743" y="2741215"/>
                </a:cubicBezTo>
                <a:close/>
                <a:moveTo>
                  <a:pt x="34090" y="1993186"/>
                </a:moveTo>
                <a:lnTo>
                  <a:pt x="1037695" y="1993186"/>
                </a:lnTo>
                <a:cubicBezTo>
                  <a:pt x="1060229" y="2037902"/>
                  <a:pt x="1071647" y="2090998"/>
                  <a:pt x="1071647" y="2151064"/>
                </a:cubicBezTo>
                <a:lnTo>
                  <a:pt x="1071647" y="2172830"/>
                </a:lnTo>
                <a:lnTo>
                  <a:pt x="1071660" y="2172830"/>
                </a:lnTo>
                <a:cubicBezTo>
                  <a:pt x="1071660" y="2235681"/>
                  <a:pt x="1060241" y="2290227"/>
                  <a:pt x="1037707" y="2335069"/>
                </a:cubicBezTo>
                <a:lnTo>
                  <a:pt x="34090" y="2335069"/>
                </a:lnTo>
                <a:cubicBezTo>
                  <a:pt x="11568" y="2290353"/>
                  <a:pt x="137" y="2237257"/>
                  <a:pt x="137" y="2177191"/>
                </a:cubicBezTo>
                <a:lnTo>
                  <a:pt x="137" y="2155425"/>
                </a:lnTo>
                <a:cubicBezTo>
                  <a:pt x="137" y="2092561"/>
                  <a:pt x="11555" y="2038002"/>
                  <a:pt x="34090" y="1993186"/>
                </a:cubicBezTo>
                <a:close/>
                <a:moveTo>
                  <a:pt x="888211" y="1024566"/>
                </a:moveTo>
                <a:lnTo>
                  <a:pt x="909914" y="1024566"/>
                </a:lnTo>
                <a:cubicBezTo>
                  <a:pt x="972601" y="1024566"/>
                  <a:pt x="1027021" y="1035959"/>
                  <a:pt x="1071737" y="1058430"/>
                </a:cubicBezTo>
                <a:lnTo>
                  <a:pt x="1071737" y="1312508"/>
                </a:lnTo>
                <a:cubicBezTo>
                  <a:pt x="1071737" y="1571778"/>
                  <a:pt x="855633" y="1786584"/>
                  <a:pt x="605475" y="1786583"/>
                </a:cubicBezTo>
                <a:lnTo>
                  <a:pt x="34255" y="1786583"/>
                </a:lnTo>
                <a:cubicBezTo>
                  <a:pt x="11771" y="1741968"/>
                  <a:pt x="378" y="1689010"/>
                  <a:pt x="378" y="1629122"/>
                </a:cubicBezTo>
                <a:lnTo>
                  <a:pt x="378" y="1607406"/>
                </a:lnTo>
                <a:cubicBezTo>
                  <a:pt x="378" y="1544718"/>
                  <a:pt x="11771" y="1490298"/>
                  <a:pt x="34255" y="1445595"/>
                </a:cubicBezTo>
                <a:lnTo>
                  <a:pt x="170544" y="1445596"/>
                </a:lnTo>
                <a:lnTo>
                  <a:pt x="170544" y="1205079"/>
                </a:lnTo>
                <a:cubicBezTo>
                  <a:pt x="215159" y="1182608"/>
                  <a:pt x="268117" y="1171215"/>
                  <a:pt x="328007" y="1171215"/>
                </a:cubicBezTo>
                <a:lnTo>
                  <a:pt x="349722" y="1171215"/>
                </a:lnTo>
                <a:cubicBezTo>
                  <a:pt x="412409" y="1171215"/>
                  <a:pt x="466829" y="1182608"/>
                  <a:pt x="511545" y="1205092"/>
                </a:cubicBezTo>
                <a:lnTo>
                  <a:pt x="511545" y="1445609"/>
                </a:lnTo>
                <a:lnTo>
                  <a:pt x="597661" y="1445609"/>
                </a:lnTo>
                <a:cubicBezTo>
                  <a:pt x="671036" y="1445609"/>
                  <a:pt x="730737" y="1385908"/>
                  <a:pt x="730737" y="1312533"/>
                </a:cubicBezTo>
                <a:lnTo>
                  <a:pt x="730737" y="1058430"/>
                </a:lnTo>
                <a:cubicBezTo>
                  <a:pt x="775351" y="1035959"/>
                  <a:pt x="828297" y="1024566"/>
                  <a:pt x="888211" y="1024566"/>
                </a:cubicBezTo>
                <a:close/>
                <a:moveTo>
                  <a:pt x="241788" y="0"/>
                </a:moveTo>
                <a:lnTo>
                  <a:pt x="545029" y="303230"/>
                </a:lnTo>
                <a:cubicBezTo>
                  <a:pt x="584477" y="342677"/>
                  <a:pt x="637989" y="364846"/>
                  <a:pt x="693783" y="364846"/>
                </a:cubicBezTo>
                <a:lnTo>
                  <a:pt x="1037695" y="364846"/>
                </a:lnTo>
                <a:cubicBezTo>
                  <a:pt x="1060216" y="409549"/>
                  <a:pt x="1071635" y="462633"/>
                  <a:pt x="1071635" y="522674"/>
                </a:cubicBezTo>
                <a:lnTo>
                  <a:pt x="1071635" y="544439"/>
                </a:lnTo>
                <a:lnTo>
                  <a:pt x="1071647" y="544439"/>
                </a:lnTo>
                <a:cubicBezTo>
                  <a:pt x="1071647" y="607278"/>
                  <a:pt x="1060229" y="661824"/>
                  <a:pt x="1037707" y="706628"/>
                </a:cubicBezTo>
                <a:lnTo>
                  <a:pt x="693808" y="706628"/>
                </a:lnTo>
                <a:cubicBezTo>
                  <a:pt x="638015" y="706628"/>
                  <a:pt x="584502" y="728797"/>
                  <a:pt x="545055" y="768257"/>
                </a:cubicBezTo>
                <a:lnTo>
                  <a:pt x="241813" y="1071499"/>
                </a:lnTo>
                <a:cubicBezTo>
                  <a:pt x="194224" y="1055909"/>
                  <a:pt x="148576" y="1026481"/>
                  <a:pt x="106078" y="983996"/>
                </a:cubicBezTo>
                <a:lnTo>
                  <a:pt x="90728" y="968633"/>
                </a:lnTo>
                <a:cubicBezTo>
                  <a:pt x="46264" y="924169"/>
                  <a:pt x="15803" y="877475"/>
                  <a:pt x="150" y="829810"/>
                </a:cubicBezTo>
                <a:lnTo>
                  <a:pt x="294204" y="535743"/>
                </a:lnTo>
                <a:lnTo>
                  <a:pt x="112" y="241676"/>
                </a:lnTo>
                <a:cubicBezTo>
                  <a:pt x="15702" y="194074"/>
                  <a:pt x="45130" y="148426"/>
                  <a:pt x="87615" y="105941"/>
                </a:cubicBezTo>
                <a:lnTo>
                  <a:pt x="102965" y="90578"/>
                </a:lnTo>
                <a:cubicBezTo>
                  <a:pt x="147429" y="46114"/>
                  <a:pt x="194111" y="15665"/>
                  <a:pt x="24178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0410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BD6E1D4E-1EFF-B585-F4FF-E8013911F36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63CCF-B50E-43E2-B311-B7FF363C6C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6000" y="1378974"/>
            <a:ext cx="8640000" cy="2700000"/>
          </a:xfrm>
        </p:spPr>
        <p:txBody>
          <a:bodyPr anchor="b"/>
          <a:lstStyle>
            <a:lvl1pPr algn="ctr">
              <a:lnSpc>
                <a:spcPct val="70000"/>
              </a:lnSpc>
              <a:defRPr sz="6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9B31A9D-1902-444C-B300-462EDB479D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6000" y="4075199"/>
            <a:ext cx="8640000" cy="720000"/>
          </a:xfrm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17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B61339F-7C3C-484D-A5D1-34526AF296A3}"/>
              </a:ext>
            </a:extLst>
          </p:cNvPr>
          <p:cNvSpPr txBox="1"/>
          <p:nvPr userDrawn="1"/>
        </p:nvSpPr>
        <p:spPr>
          <a:xfrm>
            <a:off x="4566000" y="6220012"/>
            <a:ext cx="3060000" cy="252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000" b="0">
                <a:solidFill>
                  <a:schemeClr val="tx2"/>
                </a:solidFill>
                <a:latin typeface="+mj-lt"/>
              </a:rPr>
              <a:t>DOCUMENT DE CONFIDENTIALITÉ A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1AA6C44-9700-55CB-105C-AD63810EF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04419" y="464575"/>
            <a:ext cx="284556" cy="284556"/>
          </a:xfrm>
          <a:custGeom>
            <a:avLst/>
            <a:gdLst>
              <a:gd name="connsiteX0" fmla="*/ 76495 w 159545"/>
              <a:gd name="connsiteY0" fmla="*/ 0 h 159545"/>
              <a:gd name="connsiteX1" fmla="*/ 82910 w 159545"/>
              <a:gd name="connsiteY1" fmla="*/ 0 h 159545"/>
              <a:gd name="connsiteX2" fmla="*/ 159545 w 159545"/>
              <a:gd name="connsiteY2" fmla="*/ 76564 h 159545"/>
              <a:gd name="connsiteX3" fmla="*/ 159545 w 159545"/>
              <a:gd name="connsiteY3" fmla="*/ 82980 h 159545"/>
              <a:gd name="connsiteX4" fmla="*/ 82980 w 159545"/>
              <a:gd name="connsiteY4" fmla="*/ 159545 h 159545"/>
              <a:gd name="connsiteX5" fmla="*/ 76564 w 159545"/>
              <a:gd name="connsiteY5" fmla="*/ 159545 h 159545"/>
              <a:gd name="connsiteX6" fmla="*/ 0 w 159545"/>
              <a:gd name="connsiteY6" fmla="*/ 82980 h 159545"/>
              <a:gd name="connsiteX7" fmla="*/ 0 w 159545"/>
              <a:gd name="connsiteY7" fmla="*/ 76564 h 159545"/>
              <a:gd name="connsiteX8" fmla="*/ 76495 w 159545"/>
              <a:gd name="connsiteY8" fmla="*/ 0 h 1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545" h="159545">
                <a:moveTo>
                  <a:pt x="76495" y="0"/>
                </a:moveTo>
                <a:lnTo>
                  <a:pt x="82910" y="0"/>
                </a:lnTo>
                <a:cubicBezTo>
                  <a:pt x="132210" y="0"/>
                  <a:pt x="159475" y="27196"/>
                  <a:pt x="159545" y="76564"/>
                </a:cubicBezTo>
                <a:lnTo>
                  <a:pt x="159545" y="82980"/>
                </a:lnTo>
                <a:cubicBezTo>
                  <a:pt x="159545" y="132350"/>
                  <a:pt x="132280" y="159545"/>
                  <a:pt x="82980" y="159545"/>
                </a:cubicBezTo>
                <a:lnTo>
                  <a:pt x="76564" y="159545"/>
                </a:lnTo>
                <a:cubicBezTo>
                  <a:pt x="27195" y="159545"/>
                  <a:pt x="0" y="132280"/>
                  <a:pt x="0" y="82980"/>
                </a:cubicBezTo>
                <a:lnTo>
                  <a:pt x="0" y="76564"/>
                </a:lnTo>
                <a:cubicBezTo>
                  <a:pt x="0" y="27196"/>
                  <a:pt x="27195" y="0"/>
                  <a:pt x="7649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1E5648B0-6803-3F0E-A0D9-E3C0E49C74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09181" y="4841770"/>
            <a:ext cx="279788" cy="1551656"/>
          </a:xfrm>
          <a:custGeom>
            <a:avLst/>
            <a:gdLst>
              <a:gd name="connsiteX0" fmla="*/ 141078 w 279788"/>
              <a:gd name="connsiteY0" fmla="*/ 1269575 h 1551656"/>
              <a:gd name="connsiteX1" fmla="*/ 270888 w 279788"/>
              <a:gd name="connsiteY1" fmla="*/ 1269575 h 1551656"/>
              <a:gd name="connsiteX2" fmla="*/ 279755 w 279788"/>
              <a:gd name="connsiteY2" fmla="*/ 1310796 h 1551656"/>
              <a:gd name="connsiteX3" fmla="*/ 279755 w 279788"/>
              <a:gd name="connsiteY3" fmla="*/ 1316481 h 1551656"/>
              <a:gd name="connsiteX4" fmla="*/ 270908 w 279788"/>
              <a:gd name="connsiteY4" fmla="*/ 1358805 h 1551656"/>
              <a:gd name="connsiteX5" fmla="*/ 138308 w 279788"/>
              <a:gd name="connsiteY5" fmla="*/ 1358805 h 1551656"/>
              <a:gd name="connsiteX6" fmla="*/ 104282 w 279788"/>
              <a:gd name="connsiteY6" fmla="*/ 1368422 h 1551656"/>
              <a:gd name="connsiteX7" fmla="*/ 83347 w 279788"/>
              <a:gd name="connsiteY7" fmla="*/ 1403757 h 1551656"/>
              <a:gd name="connsiteX8" fmla="*/ 93655 w 279788"/>
              <a:gd name="connsiteY8" fmla="*/ 1442550 h 1551656"/>
              <a:gd name="connsiteX9" fmla="*/ 138311 w 279788"/>
              <a:gd name="connsiteY9" fmla="*/ 1462564 h 1551656"/>
              <a:gd name="connsiteX10" fmla="*/ 270937 w 279788"/>
              <a:gd name="connsiteY10" fmla="*/ 1462564 h 1551656"/>
              <a:gd name="connsiteX11" fmla="*/ 279758 w 279788"/>
              <a:gd name="connsiteY11" fmla="*/ 1503700 h 1551656"/>
              <a:gd name="connsiteX12" fmla="*/ 279758 w 279788"/>
              <a:gd name="connsiteY12" fmla="*/ 1509385 h 1551656"/>
              <a:gd name="connsiteX13" fmla="*/ 270895 w 279788"/>
              <a:gd name="connsiteY13" fmla="*/ 1551656 h 1551656"/>
              <a:gd name="connsiteX14" fmla="*/ 13637 w 279788"/>
              <a:gd name="connsiteY14" fmla="*/ 1551656 h 1551656"/>
              <a:gd name="connsiteX15" fmla="*/ 4771 w 279788"/>
              <a:gd name="connsiteY15" fmla="*/ 1510517 h 1551656"/>
              <a:gd name="connsiteX16" fmla="*/ 4771 w 279788"/>
              <a:gd name="connsiteY16" fmla="*/ 1504842 h 1551656"/>
              <a:gd name="connsiteX17" fmla="*/ 13637 w 279788"/>
              <a:gd name="connsiteY17" fmla="*/ 1466726 h 1551656"/>
              <a:gd name="connsiteX18" fmla="*/ 0 w 279788"/>
              <a:gd name="connsiteY18" fmla="*/ 1410660 h 1551656"/>
              <a:gd name="connsiteX19" fmla="*/ 37115 w 279788"/>
              <a:gd name="connsiteY19" fmla="*/ 1309006 h 1551656"/>
              <a:gd name="connsiteX20" fmla="*/ 141078 w 279788"/>
              <a:gd name="connsiteY20" fmla="*/ 1269575 h 1551656"/>
              <a:gd name="connsiteX21" fmla="*/ 108244 w 279788"/>
              <a:gd name="connsiteY21" fmla="*/ 1047614 h 1551656"/>
              <a:gd name="connsiteX22" fmla="*/ 105951 w 279788"/>
              <a:gd name="connsiteY22" fmla="*/ 1048229 h 1551656"/>
              <a:gd name="connsiteX23" fmla="*/ 66464 w 279788"/>
              <a:gd name="connsiteY23" fmla="*/ 1096623 h 1551656"/>
              <a:gd name="connsiteX24" fmla="*/ 66467 w 279788"/>
              <a:gd name="connsiteY24" fmla="*/ 1096623 h 1551656"/>
              <a:gd name="connsiteX25" fmla="*/ 105888 w 279788"/>
              <a:gd name="connsiteY25" fmla="*/ 1143888 h 1551656"/>
              <a:gd name="connsiteX26" fmla="*/ 108244 w 279788"/>
              <a:gd name="connsiteY26" fmla="*/ 1144615 h 1551656"/>
              <a:gd name="connsiteX27" fmla="*/ 146383 w 279788"/>
              <a:gd name="connsiteY27" fmla="*/ 959144 h 1551656"/>
              <a:gd name="connsiteX28" fmla="*/ 164080 w 279788"/>
              <a:gd name="connsiteY28" fmla="*/ 959532 h 1551656"/>
              <a:gd name="connsiteX29" fmla="*/ 164080 w 279788"/>
              <a:gd name="connsiteY29" fmla="*/ 1145642 h 1551656"/>
              <a:gd name="connsiteX30" fmla="*/ 166350 w 279788"/>
              <a:gd name="connsiteY30" fmla="*/ 1145059 h 1551656"/>
              <a:gd name="connsiteX31" fmla="*/ 212286 w 279788"/>
              <a:gd name="connsiteY31" fmla="*/ 1083305 h 1551656"/>
              <a:gd name="connsiteX32" fmla="*/ 184929 w 279788"/>
              <a:gd name="connsiteY32" fmla="*/ 1021234 h 1551656"/>
              <a:gd name="connsiteX33" fmla="*/ 199083 w 279788"/>
              <a:gd name="connsiteY33" fmla="*/ 993495 h 1551656"/>
              <a:gd name="connsiteX34" fmla="*/ 201745 w 279788"/>
              <a:gd name="connsiteY34" fmla="*/ 990205 h 1551656"/>
              <a:gd name="connsiteX35" fmla="*/ 226206 w 279788"/>
              <a:gd name="connsiteY35" fmla="*/ 970189 h 1551656"/>
              <a:gd name="connsiteX36" fmla="*/ 279713 w 279788"/>
              <a:gd name="connsiteY36" fmla="*/ 1087911 h 1551656"/>
              <a:gd name="connsiteX37" fmla="*/ 279716 w 279788"/>
              <a:gd name="connsiteY37" fmla="*/ 1087911 h 1551656"/>
              <a:gd name="connsiteX38" fmla="*/ 140878 w 279788"/>
              <a:gd name="connsiteY38" fmla="*/ 1234612 h 1551656"/>
              <a:gd name="connsiteX39" fmla="*/ 139875 w 279788"/>
              <a:gd name="connsiteY39" fmla="*/ 1234612 h 1551656"/>
              <a:gd name="connsiteX40" fmla="*/ 37 w 279788"/>
              <a:gd name="connsiteY40" fmla="*/ 1096623 h 1551656"/>
              <a:gd name="connsiteX41" fmla="*/ 43607 w 279788"/>
              <a:gd name="connsiteY41" fmla="*/ 992656 h 1551656"/>
              <a:gd name="connsiteX42" fmla="*/ 146383 w 279788"/>
              <a:gd name="connsiteY42" fmla="*/ 959144 h 1551656"/>
              <a:gd name="connsiteX43" fmla="*/ 279788 w 279788"/>
              <a:gd name="connsiteY43" fmla="*/ 872562 h 1551656"/>
              <a:gd name="connsiteX44" fmla="*/ 279788 w 279788"/>
              <a:gd name="connsiteY44" fmla="*/ 872565 h 1551656"/>
              <a:gd name="connsiteX45" fmla="*/ 279787 w 279788"/>
              <a:gd name="connsiteY45" fmla="*/ 872564 h 1551656"/>
              <a:gd name="connsiteX46" fmla="*/ 216793 w 279788"/>
              <a:gd name="connsiteY46" fmla="*/ 655808 h 1551656"/>
              <a:gd name="connsiteX47" fmla="*/ 252149 w 279788"/>
              <a:gd name="connsiteY47" fmla="*/ 678628 h 1551656"/>
              <a:gd name="connsiteX48" fmla="*/ 256159 w 279788"/>
              <a:gd name="connsiteY48" fmla="*/ 682639 h 1551656"/>
              <a:gd name="connsiteX49" fmla="*/ 279779 w 279788"/>
              <a:gd name="connsiteY49" fmla="*/ 718790 h 1551656"/>
              <a:gd name="connsiteX50" fmla="*/ 203028 w 279788"/>
              <a:gd name="connsiteY50" fmla="*/ 795679 h 1551656"/>
              <a:gd name="connsiteX51" fmla="*/ 279787 w 279788"/>
              <a:gd name="connsiteY51" fmla="*/ 872564 h 1551656"/>
              <a:gd name="connsiteX52" fmla="*/ 256968 w 279788"/>
              <a:gd name="connsiteY52" fmla="*/ 907914 h 1551656"/>
              <a:gd name="connsiteX53" fmla="*/ 252958 w 279788"/>
              <a:gd name="connsiteY53" fmla="*/ 911924 h 1551656"/>
              <a:gd name="connsiteX54" fmla="*/ 216803 w 279788"/>
              <a:gd name="connsiteY54" fmla="*/ 935547 h 1551656"/>
              <a:gd name="connsiteX55" fmla="*/ 157872 w 279788"/>
              <a:gd name="connsiteY55" fmla="*/ 875793 h 1551656"/>
              <a:gd name="connsiteX56" fmla="*/ 121947 w 279788"/>
              <a:gd name="connsiteY56" fmla="*/ 875793 h 1551656"/>
              <a:gd name="connsiteX57" fmla="*/ 63032 w 279788"/>
              <a:gd name="connsiteY57" fmla="*/ 935544 h 1551656"/>
              <a:gd name="connsiteX58" fmla="*/ 27677 w 279788"/>
              <a:gd name="connsiteY58" fmla="*/ 912734 h 1551656"/>
              <a:gd name="connsiteX59" fmla="*/ 23666 w 279788"/>
              <a:gd name="connsiteY59" fmla="*/ 908723 h 1551656"/>
              <a:gd name="connsiteX60" fmla="*/ 47 w 279788"/>
              <a:gd name="connsiteY60" fmla="*/ 872568 h 1551656"/>
              <a:gd name="connsiteX61" fmla="*/ 76798 w 279788"/>
              <a:gd name="connsiteY61" fmla="*/ 795679 h 1551656"/>
              <a:gd name="connsiteX62" fmla="*/ 37 w 279788"/>
              <a:gd name="connsiteY62" fmla="*/ 718787 h 1551656"/>
              <a:gd name="connsiteX63" fmla="*/ 22857 w 279788"/>
              <a:gd name="connsiteY63" fmla="*/ 683445 h 1551656"/>
              <a:gd name="connsiteX64" fmla="*/ 26868 w 279788"/>
              <a:gd name="connsiteY64" fmla="*/ 679434 h 1551656"/>
              <a:gd name="connsiteX65" fmla="*/ 63022 w 279788"/>
              <a:gd name="connsiteY65" fmla="*/ 655815 h 1551656"/>
              <a:gd name="connsiteX66" fmla="*/ 121951 w 279788"/>
              <a:gd name="connsiteY66" fmla="*/ 715605 h 1551656"/>
              <a:gd name="connsiteX67" fmla="*/ 157872 w 279788"/>
              <a:gd name="connsiteY67" fmla="*/ 715605 h 1551656"/>
              <a:gd name="connsiteX68" fmla="*/ 8900 w 279788"/>
              <a:gd name="connsiteY68" fmla="*/ 520329 h 1551656"/>
              <a:gd name="connsiteX69" fmla="*/ 270895 w 279788"/>
              <a:gd name="connsiteY69" fmla="*/ 520329 h 1551656"/>
              <a:gd name="connsiteX70" fmla="*/ 279758 w 279788"/>
              <a:gd name="connsiteY70" fmla="*/ 561544 h 1551656"/>
              <a:gd name="connsiteX71" fmla="*/ 279758 w 279788"/>
              <a:gd name="connsiteY71" fmla="*/ 567226 h 1551656"/>
              <a:gd name="connsiteX72" fmla="*/ 279761 w 279788"/>
              <a:gd name="connsiteY72" fmla="*/ 567226 h 1551656"/>
              <a:gd name="connsiteX73" fmla="*/ 270898 w 279788"/>
              <a:gd name="connsiteY73" fmla="*/ 609579 h 1551656"/>
              <a:gd name="connsiteX74" fmla="*/ 8900 w 279788"/>
              <a:gd name="connsiteY74" fmla="*/ 609579 h 1551656"/>
              <a:gd name="connsiteX75" fmla="*/ 36 w 279788"/>
              <a:gd name="connsiteY75" fmla="*/ 568364 h 1551656"/>
              <a:gd name="connsiteX76" fmla="*/ 36 w 279788"/>
              <a:gd name="connsiteY76" fmla="*/ 562682 h 1551656"/>
              <a:gd name="connsiteX77" fmla="*/ 8900 w 279788"/>
              <a:gd name="connsiteY77" fmla="*/ 520329 h 1551656"/>
              <a:gd name="connsiteX78" fmla="*/ 231871 w 279788"/>
              <a:gd name="connsiteY78" fmla="*/ 267467 h 1551656"/>
              <a:gd name="connsiteX79" fmla="*/ 237537 w 279788"/>
              <a:gd name="connsiteY79" fmla="*/ 267467 h 1551656"/>
              <a:gd name="connsiteX80" fmla="*/ 279781 w 279788"/>
              <a:gd name="connsiteY80" fmla="*/ 276308 h 1551656"/>
              <a:gd name="connsiteX81" fmla="*/ 279781 w 279788"/>
              <a:gd name="connsiteY81" fmla="*/ 342636 h 1551656"/>
              <a:gd name="connsiteX82" fmla="*/ 158062 w 279788"/>
              <a:gd name="connsiteY82" fmla="*/ 466395 h 1551656"/>
              <a:gd name="connsiteX83" fmla="*/ 8943 w 279788"/>
              <a:gd name="connsiteY83" fmla="*/ 466395 h 1551656"/>
              <a:gd name="connsiteX84" fmla="*/ 99 w 279788"/>
              <a:gd name="connsiteY84" fmla="*/ 425289 h 1551656"/>
              <a:gd name="connsiteX85" fmla="*/ 99 w 279788"/>
              <a:gd name="connsiteY85" fmla="*/ 419620 h 1551656"/>
              <a:gd name="connsiteX86" fmla="*/ 8943 w 279788"/>
              <a:gd name="connsiteY86" fmla="*/ 377379 h 1551656"/>
              <a:gd name="connsiteX87" fmla="*/ 44522 w 279788"/>
              <a:gd name="connsiteY87" fmla="*/ 377379 h 1551656"/>
              <a:gd name="connsiteX88" fmla="*/ 44522 w 279788"/>
              <a:gd name="connsiteY88" fmla="*/ 314591 h 1551656"/>
              <a:gd name="connsiteX89" fmla="*/ 85628 w 279788"/>
              <a:gd name="connsiteY89" fmla="*/ 305750 h 1551656"/>
              <a:gd name="connsiteX90" fmla="*/ 91296 w 279788"/>
              <a:gd name="connsiteY90" fmla="*/ 305750 h 1551656"/>
              <a:gd name="connsiteX91" fmla="*/ 133541 w 279788"/>
              <a:gd name="connsiteY91" fmla="*/ 314594 h 1551656"/>
              <a:gd name="connsiteX92" fmla="*/ 133541 w 279788"/>
              <a:gd name="connsiteY92" fmla="*/ 377382 h 1551656"/>
              <a:gd name="connsiteX93" fmla="*/ 156022 w 279788"/>
              <a:gd name="connsiteY93" fmla="*/ 377382 h 1551656"/>
              <a:gd name="connsiteX94" fmla="*/ 190762 w 279788"/>
              <a:gd name="connsiteY94" fmla="*/ 342642 h 1551656"/>
              <a:gd name="connsiteX95" fmla="*/ 190762 w 279788"/>
              <a:gd name="connsiteY95" fmla="*/ 276308 h 1551656"/>
              <a:gd name="connsiteX96" fmla="*/ 231871 w 279788"/>
              <a:gd name="connsiteY96" fmla="*/ 267467 h 1551656"/>
              <a:gd name="connsiteX97" fmla="*/ 63120 w 279788"/>
              <a:gd name="connsiteY97" fmla="*/ 0 h 1551656"/>
              <a:gd name="connsiteX98" fmla="*/ 142283 w 279788"/>
              <a:gd name="connsiteY98" fmla="*/ 79159 h 1551656"/>
              <a:gd name="connsiteX99" fmla="*/ 181115 w 279788"/>
              <a:gd name="connsiteY99" fmla="*/ 95244 h 1551656"/>
              <a:gd name="connsiteX100" fmla="*/ 270895 w 279788"/>
              <a:gd name="connsiteY100" fmla="*/ 95244 h 1551656"/>
              <a:gd name="connsiteX101" fmla="*/ 279755 w 279788"/>
              <a:gd name="connsiteY101" fmla="*/ 136446 h 1551656"/>
              <a:gd name="connsiteX102" fmla="*/ 279755 w 279788"/>
              <a:gd name="connsiteY102" fmla="*/ 142128 h 1551656"/>
              <a:gd name="connsiteX103" fmla="*/ 279758 w 279788"/>
              <a:gd name="connsiteY103" fmla="*/ 142128 h 1551656"/>
              <a:gd name="connsiteX104" fmla="*/ 270898 w 279788"/>
              <a:gd name="connsiteY104" fmla="*/ 184468 h 1551656"/>
              <a:gd name="connsiteX105" fmla="*/ 181122 w 279788"/>
              <a:gd name="connsiteY105" fmla="*/ 184468 h 1551656"/>
              <a:gd name="connsiteX106" fmla="*/ 142289 w 279788"/>
              <a:gd name="connsiteY106" fmla="*/ 200557 h 1551656"/>
              <a:gd name="connsiteX107" fmla="*/ 63127 w 279788"/>
              <a:gd name="connsiteY107" fmla="*/ 279719 h 1551656"/>
              <a:gd name="connsiteX108" fmla="*/ 27693 w 279788"/>
              <a:gd name="connsiteY108" fmla="*/ 256876 h 1551656"/>
              <a:gd name="connsiteX109" fmla="*/ 23686 w 279788"/>
              <a:gd name="connsiteY109" fmla="*/ 252865 h 1551656"/>
              <a:gd name="connsiteX110" fmla="*/ 40 w 279788"/>
              <a:gd name="connsiteY110" fmla="*/ 216625 h 1551656"/>
              <a:gd name="connsiteX111" fmla="*/ 76804 w 279788"/>
              <a:gd name="connsiteY111" fmla="*/ 139858 h 1551656"/>
              <a:gd name="connsiteX112" fmla="*/ 30 w 279788"/>
              <a:gd name="connsiteY112" fmla="*/ 63090 h 1551656"/>
              <a:gd name="connsiteX113" fmla="*/ 22873 w 279788"/>
              <a:gd name="connsiteY113" fmla="*/ 27656 h 1551656"/>
              <a:gd name="connsiteX114" fmla="*/ 26880 w 279788"/>
              <a:gd name="connsiteY114" fmla="*/ 23646 h 1551656"/>
              <a:gd name="connsiteX115" fmla="*/ 63120 w 279788"/>
              <a:gd name="connsiteY115" fmla="*/ 0 h 1551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279788" h="1551656">
                <a:moveTo>
                  <a:pt x="141078" y="1269575"/>
                </a:moveTo>
                <a:lnTo>
                  <a:pt x="270888" y="1269575"/>
                </a:lnTo>
                <a:cubicBezTo>
                  <a:pt x="276771" y="1281251"/>
                  <a:pt x="279755" y="1295116"/>
                  <a:pt x="279755" y="1310796"/>
                </a:cubicBezTo>
                <a:lnTo>
                  <a:pt x="279755" y="1316481"/>
                </a:lnTo>
                <a:cubicBezTo>
                  <a:pt x="279755" y="1332879"/>
                  <a:pt x="276777" y="1347112"/>
                  <a:pt x="270908" y="1358805"/>
                </a:cubicBezTo>
                <a:cubicBezTo>
                  <a:pt x="228433" y="1358765"/>
                  <a:pt x="180882" y="1358808"/>
                  <a:pt x="138308" y="1358805"/>
                </a:cubicBezTo>
                <a:cubicBezTo>
                  <a:pt x="126049" y="1358805"/>
                  <a:pt x="114494" y="1361322"/>
                  <a:pt x="104282" y="1368422"/>
                </a:cubicBezTo>
                <a:cubicBezTo>
                  <a:pt x="91954" y="1376996"/>
                  <a:pt x="85029" y="1388863"/>
                  <a:pt x="83347" y="1403757"/>
                </a:cubicBezTo>
                <a:cubicBezTo>
                  <a:pt x="81739" y="1418013"/>
                  <a:pt x="84782" y="1431121"/>
                  <a:pt x="93655" y="1442550"/>
                </a:cubicBezTo>
                <a:cubicBezTo>
                  <a:pt x="105131" y="1457330"/>
                  <a:pt x="121052" y="1462534"/>
                  <a:pt x="138311" y="1462564"/>
                </a:cubicBezTo>
                <a:cubicBezTo>
                  <a:pt x="180556" y="1462633"/>
                  <a:pt x="228782" y="1462620"/>
                  <a:pt x="270937" y="1462564"/>
                </a:cubicBezTo>
                <a:cubicBezTo>
                  <a:pt x="276790" y="1474224"/>
                  <a:pt x="279758" y="1488059"/>
                  <a:pt x="279758" y="1503700"/>
                </a:cubicBezTo>
                <a:lnTo>
                  <a:pt x="279758" y="1509385"/>
                </a:lnTo>
                <a:cubicBezTo>
                  <a:pt x="279758" y="1525796"/>
                  <a:pt x="276777" y="1539953"/>
                  <a:pt x="270895" y="1551656"/>
                </a:cubicBezTo>
                <a:lnTo>
                  <a:pt x="13637" y="1551656"/>
                </a:lnTo>
                <a:cubicBezTo>
                  <a:pt x="7755" y="1539996"/>
                  <a:pt x="4774" y="1526164"/>
                  <a:pt x="4771" y="1510517"/>
                </a:cubicBezTo>
                <a:lnTo>
                  <a:pt x="4771" y="1504842"/>
                </a:lnTo>
                <a:cubicBezTo>
                  <a:pt x="4771" y="1483611"/>
                  <a:pt x="13637" y="1466726"/>
                  <a:pt x="13637" y="1466726"/>
                </a:cubicBezTo>
                <a:cubicBezTo>
                  <a:pt x="6093" y="1449150"/>
                  <a:pt x="0" y="1429890"/>
                  <a:pt x="0" y="1410660"/>
                </a:cubicBezTo>
                <a:cubicBezTo>
                  <a:pt x="0" y="1372449"/>
                  <a:pt x="8554" y="1338146"/>
                  <a:pt x="37115" y="1309006"/>
                </a:cubicBezTo>
                <a:cubicBezTo>
                  <a:pt x="62439" y="1283176"/>
                  <a:pt x="102176" y="1270424"/>
                  <a:pt x="141078" y="1269575"/>
                </a:cubicBezTo>
                <a:close/>
                <a:moveTo>
                  <a:pt x="108244" y="1047614"/>
                </a:moveTo>
                <a:lnTo>
                  <a:pt x="105951" y="1048229"/>
                </a:lnTo>
                <a:cubicBezTo>
                  <a:pt x="81226" y="1054862"/>
                  <a:pt x="66464" y="1072954"/>
                  <a:pt x="66464" y="1096623"/>
                </a:cubicBezTo>
                <a:lnTo>
                  <a:pt x="66467" y="1096623"/>
                </a:lnTo>
                <a:cubicBezTo>
                  <a:pt x="66467" y="1119259"/>
                  <a:pt x="80466" y="1136045"/>
                  <a:pt x="105888" y="1143888"/>
                </a:cubicBezTo>
                <a:lnTo>
                  <a:pt x="108244" y="1144615"/>
                </a:lnTo>
                <a:close/>
                <a:moveTo>
                  <a:pt x="146383" y="959144"/>
                </a:moveTo>
                <a:cubicBezTo>
                  <a:pt x="151923" y="959144"/>
                  <a:pt x="158141" y="959144"/>
                  <a:pt x="164080" y="959532"/>
                </a:cubicBezTo>
                <a:lnTo>
                  <a:pt x="164080" y="1145642"/>
                </a:lnTo>
                <a:lnTo>
                  <a:pt x="166350" y="1145059"/>
                </a:lnTo>
                <a:cubicBezTo>
                  <a:pt x="196402" y="1137371"/>
                  <a:pt x="212286" y="1116015"/>
                  <a:pt x="212286" y="1083305"/>
                </a:cubicBezTo>
                <a:cubicBezTo>
                  <a:pt x="212286" y="1059389"/>
                  <a:pt x="204347" y="1041343"/>
                  <a:pt x="184929" y="1021234"/>
                </a:cubicBezTo>
                <a:cubicBezTo>
                  <a:pt x="187068" y="1011788"/>
                  <a:pt x="191828" y="1002461"/>
                  <a:pt x="199083" y="993495"/>
                </a:cubicBezTo>
                <a:lnTo>
                  <a:pt x="201745" y="990205"/>
                </a:lnTo>
                <a:cubicBezTo>
                  <a:pt x="209322" y="980848"/>
                  <a:pt x="217547" y="974120"/>
                  <a:pt x="226206" y="970189"/>
                </a:cubicBezTo>
                <a:cubicBezTo>
                  <a:pt x="262210" y="999164"/>
                  <a:pt x="279713" y="1037684"/>
                  <a:pt x="279713" y="1087911"/>
                </a:cubicBezTo>
                <a:lnTo>
                  <a:pt x="279716" y="1087911"/>
                </a:lnTo>
                <a:cubicBezTo>
                  <a:pt x="279716" y="1174285"/>
                  <a:pt x="222627" y="1234612"/>
                  <a:pt x="140878" y="1234612"/>
                </a:cubicBezTo>
                <a:lnTo>
                  <a:pt x="139875" y="1234612"/>
                </a:lnTo>
                <a:cubicBezTo>
                  <a:pt x="60156" y="1234612"/>
                  <a:pt x="37" y="1175289"/>
                  <a:pt x="37" y="1096623"/>
                </a:cubicBezTo>
                <a:cubicBezTo>
                  <a:pt x="37" y="1052730"/>
                  <a:pt x="15099" y="1016779"/>
                  <a:pt x="43607" y="992656"/>
                </a:cubicBezTo>
                <a:cubicBezTo>
                  <a:pt x="69520" y="970731"/>
                  <a:pt x="105059" y="959144"/>
                  <a:pt x="146383" y="959144"/>
                </a:cubicBezTo>
                <a:close/>
                <a:moveTo>
                  <a:pt x="279788" y="872562"/>
                </a:moveTo>
                <a:lnTo>
                  <a:pt x="279788" y="872565"/>
                </a:lnTo>
                <a:lnTo>
                  <a:pt x="279787" y="872564"/>
                </a:lnTo>
                <a:close/>
                <a:moveTo>
                  <a:pt x="216793" y="655808"/>
                </a:moveTo>
                <a:cubicBezTo>
                  <a:pt x="229190" y="659888"/>
                  <a:pt x="241081" y="667560"/>
                  <a:pt x="252149" y="678628"/>
                </a:cubicBezTo>
                <a:lnTo>
                  <a:pt x="256159" y="682639"/>
                </a:lnTo>
                <a:cubicBezTo>
                  <a:pt x="267737" y="694213"/>
                  <a:pt x="275676" y="706370"/>
                  <a:pt x="279779" y="718790"/>
                </a:cubicBezTo>
                <a:lnTo>
                  <a:pt x="203028" y="795679"/>
                </a:lnTo>
                <a:lnTo>
                  <a:pt x="279787" y="872564"/>
                </a:lnTo>
                <a:lnTo>
                  <a:pt x="256968" y="907914"/>
                </a:lnTo>
                <a:lnTo>
                  <a:pt x="252958" y="911924"/>
                </a:lnTo>
                <a:cubicBezTo>
                  <a:pt x="241377" y="923505"/>
                  <a:pt x="229220" y="931448"/>
                  <a:pt x="216803" y="935547"/>
                </a:cubicBezTo>
                <a:lnTo>
                  <a:pt x="157872" y="875793"/>
                </a:lnTo>
                <a:cubicBezTo>
                  <a:pt x="147949" y="865886"/>
                  <a:pt x="131870" y="865886"/>
                  <a:pt x="121947" y="875793"/>
                </a:cubicBezTo>
                <a:lnTo>
                  <a:pt x="63032" y="935544"/>
                </a:lnTo>
                <a:cubicBezTo>
                  <a:pt x="50635" y="931464"/>
                  <a:pt x="38745" y="923798"/>
                  <a:pt x="27677" y="912734"/>
                </a:cubicBezTo>
                <a:lnTo>
                  <a:pt x="23666" y="908723"/>
                </a:lnTo>
                <a:cubicBezTo>
                  <a:pt x="12085" y="897142"/>
                  <a:pt x="4140" y="884985"/>
                  <a:pt x="47" y="872568"/>
                </a:cubicBezTo>
                <a:lnTo>
                  <a:pt x="76798" y="795679"/>
                </a:lnTo>
                <a:lnTo>
                  <a:pt x="37" y="718787"/>
                </a:lnTo>
                <a:cubicBezTo>
                  <a:pt x="4113" y="706390"/>
                  <a:pt x="11786" y="694513"/>
                  <a:pt x="22857" y="683445"/>
                </a:cubicBezTo>
                <a:lnTo>
                  <a:pt x="26868" y="679434"/>
                </a:lnTo>
                <a:cubicBezTo>
                  <a:pt x="38449" y="667853"/>
                  <a:pt x="50605" y="659911"/>
                  <a:pt x="63022" y="655815"/>
                </a:cubicBezTo>
                <a:lnTo>
                  <a:pt x="121951" y="715605"/>
                </a:lnTo>
                <a:cubicBezTo>
                  <a:pt x="131873" y="725512"/>
                  <a:pt x="147949" y="725512"/>
                  <a:pt x="157872" y="715605"/>
                </a:cubicBezTo>
                <a:close/>
                <a:moveTo>
                  <a:pt x="8900" y="520329"/>
                </a:moveTo>
                <a:lnTo>
                  <a:pt x="270895" y="520329"/>
                </a:lnTo>
                <a:cubicBezTo>
                  <a:pt x="276778" y="532002"/>
                  <a:pt x="279758" y="545863"/>
                  <a:pt x="279758" y="561544"/>
                </a:cubicBezTo>
                <a:lnTo>
                  <a:pt x="279758" y="567226"/>
                </a:lnTo>
                <a:lnTo>
                  <a:pt x="279761" y="567226"/>
                </a:lnTo>
                <a:cubicBezTo>
                  <a:pt x="279761" y="583633"/>
                  <a:pt x="276780" y="597873"/>
                  <a:pt x="270898" y="609579"/>
                </a:cubicBezTo>
                <a:lnTo>
                  <a:pt x="8900" y="609579"/>
                </a:lnTo>
                <a:cubicBezTo>
                  <a:pt x="3021" y="597906"/>
                  <a:pt x="36" y="584045"/>
                  <a:pt x="36" y="568364"/>
                </a:cubicBezTo>
                <a:lnTo>
                  <a:pt x="36" y="562682"/>
                </a:lnTo>
                <a:cubicBezTo>
                  <a:pt x="36" y="546271"/>
                  <a:pt x="3018" y="532029"/>
                  <a:pt x="8900" y="520329"/>
                </a:cubicBezTo>
                <a:close/>
                <a:moveTo>
                  <a:pt x="231871" y="267467"/>
                </a:moveTo>
                <a:lnTo>
                  <a:pt x="237537" y="267467"/>
                </a:lnTo>
                <a:cubicBezTo>
                  <a:pt x="253902" y="267467"/>
                  <a:pt x="268108" y="270441"/>
                  <a:pt x="279781" y="276308"/>
                </a:cubicBezTo>
                <a:lnTo>
                  <a:pt x="279781" y="342636"/>
                </a:lnTo>
                <a:cubicBezTo>
                  <a:pt x="279781" y="410319"/>
                  <a:pt x="223366" y="466395"/>
                  <a:pt x="158062" y="466395"/>
                </a:cubicBezTo>
                <a:lnTo>
                  <a:pt x="8943" y="466395"/>
                </a:lnTo>
                <a:cubicBezTo>
                  <a:pt x="3073" y="454748"/>
                  <a:pt x="99" y="440923"/>
                  <a:pt x="99" y="425289"/>
                </a:cubicBezTo>
                <a:lnTo>
                  <a:pt x="99" y="419620"/>
                </a:lnTo>
                <a:cubicBezTo>
                  <a:pt x="99" y="403255"/>
                  <a:pt x="3073" y="389049"/>
                  <a:pt x="8943" y="377379"/>
                </a:cubicBezTo>
                <a:lnTo>
                  <a:pt x="44522" y="377379"/>
                </a:lnTo>
                <a:lnTo>
                  <a:pt x="44522" y="314591"/>
                </a:lnTo>
                <a:cubicBezTo>
                  <a:pt x="56168" y="308725"/>
                  <a:pt x="69993" y="305750"/>
                  <a:pt x="85628" y="305750"/>
                </a:cubicBezTo>
                <a:lnTo>
                  <a:pt x="91296" y="305750"/>
                </a:lnTo>
                <a:cubicBezTo>
                  <a:pt x="107661" y="305750"/>
                  <a:pt x="121868" y="308725"/>
                  <a:pt x="133541" y="314594"/>
                </a:cubicBezTo>
                <a:lnTo>
                  <a:pt x="133541" y="377382"/>
                </a:lnTo>
                <a:lnTo>
                  <a:pt x="156022" y="377382"/>
                </a:lnTo>
                <a:cubicBezTo>
                  <a:pt x="175177" y="377382"/>
                  <a:pt x="190762" y="361797"/>
                  <a:pt x="190762" y="342642"/>
                </a:cubicBezTo>
                <a:lnTo>
                  <a:pt x="190762" y="276308"/>
                </a:lnTo>
                <a:cubicBezTo>
                  <a:pt x="202409" y="270441"/>
                  <a:pt x="216230" y="267467"/>
                  <a:pt x="231871" y="267467"/>
                </a:cubicBezTo>
                <a:close/>
                <a:moveTo>
                  <a:pt x="63120" y="0"/>
                </a:moveTo>
                <a:lnTo>
                  <a:pt x="142283" y="79159"/>
                </a:lnTo>
                <a:cubicBezTo>
                  <a:pt x="152581" y="89457"/>
                  <a:pt x="166550" y="95244"/>
                  <a:pt x="181115" y="95244"/>
                </a:cubicBezTo>
                <a:lnTo>
                  <a:pt x="270895" y="95244"/>
                </a:lnTo>
                <a:cubicBezTo>
                  <a:pt x="276774" y="106914"/>
                  <a:pt x="279755" y="120772"/>
                  <a:pt x="279755" y="136446"/>
                </a:cubicBezTo>
                <a:lnTo>
                  <a:pt x="279755" y="142128"/>
                </a:lnTo>
                <a:lnTo>
                  <a:pt x="279758" y="142128"/>
                </a:lnTo>
                <a:cubicBezTo>
                  <a:pt x="279758" y="158532"/>
                  <a:pt x="276778" y="172772"/>
                  <a:pt x="270898" y="184468"/>
                </a:cubicBezTo>
                <a:lnTo>
                  <a:pt x="181122" y="184468"/>
                </a:lnTo>
                <a:cubicBezTo>
                  <a:pt x="166557" y="184468"/>
                  <a:pt x="152587" y="190255"/>
                  <a:pt x="142289" y="200557"/>
                </a:cubicBezTo>
                <a:lnTo>
                  <a:pt x="63127" y="279719"/>
                </a:lnTo>
                <a:cubicBezTo>
                  <a:pt x="50704" y="275649"/>
                  <a:pt x="38787" y="267967"/>
                  <a:pt x="27693" y="256876"/>
                </a:cubicBezTo>
                <a:lnTo>
                  <a:pt x="23686" y="252865"/>
                </a:lnTo>
                <a:cubicBezTo>
                  <a:pt x="12078" y="241258"/>
                  <a:pt x="4126" y="229068"/>
                  <a:pt x="40" y="216625"/>
                </a:cubicBezTo>
                <a:lnTo>
                  <a:pt x="76804" y="139858"/>
                </a:lnTo>
                <a:lnTo>
                  <a:pt x="30" y="63090"/>
                </a:lnTo>
                <a:cubicBezTo>
                  <a:pt x="4100" y="50664"/>
                  <a:pt x="11782" y="38747"/>
                  <a:pt x="22873" y="27656"/>
                </a:cubicBezTo>
                <a:lnTo>
                  <a:pt x="26880" y="23646"/>
                </a:lnTo>
                <a:cubicBezTo>
                  <a:pt x="38488" y="12038"/>
                  <a:pt x="50674" y="4089"/>
                  <a:pt x="63120" y="0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3" name="Espace réservé de la date 12">
            <a:extLst>
              <a:ext uri="{FF2B5EF4-FFF2-40B4-BE49-F238E27FC236}">
                <a16:creationId xmlns:a16="http://schemas.microsoft.com/office/drawing/2014/main" id="{5CCECFD9-935D-1DAF-BCC4-1FFCB37FE18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96000" y="6036862"/>
            <a:ext cx="1800000" cy="252000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7897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F4091AEE-F60C-E57F-985B-9F85930D07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478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D96F1A9-4410-4222-B41F-E19BC26CC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CFB0F91-EBE7-4F0E-9B92-C50086668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478D7A1-B286-4721-97A3-4A6D0AB2F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C7488F83-4697-05F6-7C85-FD78AE120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A7A61EE-7B33-6419-45EA-D2BBF8CF4C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11268524" y="5912051"/>
            <a:ext cx="813600" cy="146641"/>
          </a:xfrm>
          <a:prstGeom prst="rect">
            <a:avLst/>
          </a:prstGeom>
        </p:spPr>
      </p:pic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ECA9F94-75CB-FDCA-4A90-1E93E0EA76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5421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FD357A2E-82AC-73AC-06B6-C55B8B0EA34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239690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id="{24B4D4A4-FCAC-7BF5-E2DC-BDB835C419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91066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85A92BF3-F8F0-579C-4146-9CB3549AC23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013902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id="{F88F99D4-C1C0-8DFD-3C0A-8E50FB6B0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56711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242B27C2-69B7-1596-0A30-0AB9DD524CEF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88114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id="{184EED59-B7BD-59BA-F04D-737F9E0184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22356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12B371C3-037A-E35A-8427-B4DD94095654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62326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id="{769D2CD0-9C3F-7197-0997-3E712E5FC0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88001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0615C9E-7B4E-9204-8380-C2F95009D5B8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36536" y="2639127"/>
            <a:ext cx="891797" cy="86075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48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59D584D1-6238-3959-86C0-42C88C1AFCD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53646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Graphique 9">
            <a:extLst>
              <a:ext uri="{FF2B5EF4-FFF2-40B4-BE49-F238E27FC236}">
                <a16:creationId xmlns:a16="http://schemas.microsoft.com/office/drawing/2014/main" id="{83310E7E-1F55-9372-29AD-FD3B83CB1876}"/>
              </a:ext>
            </a:extLst>
          </p:cNvPr>
          <p:cNvSpPr/>
          <p:nvPr userDrawn="1"/>
        </p:nvSpPr>
        <p:spPr>
          <a:xfrm>
            <a:off x="11595552" y="458685"/>
            <a:ext cx="159544" cy="159544"/>
          </a:xfrm>
          <a:custGeom>
            <a:avLst/>
            <a:gdLst>
              <a:gd name="connsiteX0" fmla="*/ 0 w 217931"/>
              <a:gd name="connsiteY0" fmla="*/ 104584 h 217931"/>
              <a:gd name="connsiteX1" fmla="*/ 0 w 217931"/>
              <a:gd name="connsiteY1" fmla="*/ 113348 h 217931"/>
              <a:gd name="connsiteX2" fmla="*/ 104584 w 217931"/>
              <a:gd name="connsiteY2" fmla="*/ 217932 h 217931"/>
              <a:gd name="connsiteX3" fmla="*/ 113348 w 217931"/>
              <a:gd name="connsiteY3" fmla="*/ 217932 h 217931"/>
              <a:gd name="connsiteX4" fmla="*/ 217932 w 217931"/>
              <a:gd name="connsiteY4" fmla="*/ 113348 h 217931"/>
              <a:gd name="connsiteX5" fmla="*/ 217932 w 217931"/>
              <a:gd name="connsiteY5" fmla="*/ 104584 h 217931"/>
              <a:gd name="connsiteX6" fmla="*/ 113252 w 217931"/>
              <a:gd name="connsiteY6" fmla="*/ 0 h 217931"/>
              <a:gd name="connsiteX7" fmla="*/ 104489 w 217931"/>
              <a:gd name="connsiteY7" fmla="*/ 0 h 217931"/>
              <a:gd name="connsiteX8" fmla="*/ 0 w 217931"/>
              <a:gd name="connsiteY8" fmla="*/ 104584 h 21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931" h="217931">
                <a:moveTo>
                  <a:pt x="0" y="104584"/>
                </a:moveTo>
                <a:lnTo>
                  <a:pt x="0" y="113348"/>
                </a:lnTo>
                <a:cubicBezTo>
                  <a:pt x="0" y="180689"/>
                  <a:pt x="37148" y="217932"/>
                  <a:pt x="104584" y="217932"/>
                </a:cubicBezTo>
                <a:lnTo>
                  <a:pt x="113348" y="217932"/>
                </a:lnTo>
                <a:cubicBezTo>
                  <a:pt x="180689" y="217932"/>
                  <a:pt x="217932" y="180785"/>
                  <a:pt x="217932" y="113348"/>
                </a:cubicBezTo>
                <a:lnTo>
                  <a:pt x="217932" y="104584"/>
                </a:lnTo>
                <a:cubicBezTo>
                  <a:pt x="217837" y="37148"/>
                  <a:pt x="180594" y="0"/>
                  <a:pt x="113252" y="0"/>
                </a:cubicBezTo>
                <a:lnTo>
                  <a:pt x="104489" y="0"/>
                </a:lnTo>
                <a:cubicBezTo>
                  <a:pt x="37148" y="0"/>
                  <a:pt x="0" y="37148"/>
                  <a:pt x="0" y="104584"/>
                </a:cubicBezTo>
              </a:path>
            </a:pathLst>
          </a:custGeom>
          <a:solidFill>
            <a:schemeClr val="bg2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15406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que 11">
            <a:extLst>
              <a:ext uri="{FF2B5EF4-FFF2-40B4-BE49-F238E27FC236}">
                <a16:creationId xmlns:a16="http://schemas.microsoft.com/office/drawing/2014/main" id="{4A0E09F4-18E4-4891-7474-AD97FA10B42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110615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ECC22A5-9C7B-4667-B2B1-C07FB4E24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25" y="1972131"/>
            <a:ext cx="10080000" cy="2880000"/>
          </a:xfrm>
        </p:spPr>
        <p:txBody>
          <a:bodyPr anchor="ctr"/>
          <a:lstStyle>
            <a:lvl1pPr>
              <a:defRPr sz="4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F7C1C40-DCC4-4FC5-ACE5-1F8AA9E6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A17F93-9F51-471E-871D-FC5B2EB2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C202AC-A1FA-443A-92C6-11FBF8634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8491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968C319F-18EC-0C05-05D6-E9C7ECCB3C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64"/>
            <a:ext cx="1110894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ECC22A5-9C7B-4667-B2B1-C07FB4E24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25" y="1972131"/>
            <a:ext cx="10080000" cy="2880000"/>
          </a:xfrm>
        </p:spPr>
        <p:txBody>
          <a:bodyPr anchor="ctr"/>
          <a:lstStyle>
            <a:lvl1pPr>
              <a:defRPr sz="4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F7C1C40-DCC4-4FC5-ACE5-1F8AA9E6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A17F93-9F51-471E-871D-FC5B2EB2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C202AC-A1FA-443A-92C6-11FBF8634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3922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 avec numér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CC22A5-9C7B-4667-B2B1-C07FB4E24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2048" y="1972131"/>
            <a:ext cx="6120000" cy="2880000"/>
          </a:xfrm>
        </p:spPr>
        <p:txBody>
          <a:bodyPr anchor="ctr"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F7C1C40-DCC4-4FC5-ACE5-1F8AA9E6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A17F93-9F51-471E-871D-FC5B2EB2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C202AC-A1FA-443A-92C6-11FBF8634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8924C610-C9AD-F09B-BCA7-06978A6CC6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4850" y="1428750"/>
            <a:ext cx="5760000" cy="3960000"/>
          </a:xfrm>
        </p:spPr>
        <p:txBody>
          <a:bodyPr/>
          <a:lstStyle>
            <a:lvl1pPr>
              <a:defRPr sz="300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NN</a:t>
            </a:r>
          </a:p>
        </p:txBody>
      </p:sp>
    </p:spTree>
    <p:extLst>
      <p:ext uri="{BB962C8B-B14F-4D97-AF65-F5344CB8AC3E}">
        <p14:creationId xmlns:p14="http://schemas.microsoft.com/office/powerpoint/2010/main" val="12473924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C5C802D4-9B5F-AF9B-8B3E-543FE4F145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0166" y="1627075"/>
            <a:ext cx="3179628" cy="2916092"/>
          </a:xfrm>
          <a:custGeom>
            <a:avLst/>
            <a:gdLst>
              <a:gd name="connsiteX0" fmla="*/ 1589814 w 3179628"/>
              <a:gd name="connsiteY0" fmla="*/ 0 h 2916092"/>
              <a:gd name="connsiteX1" fmla="*/ 3116058 w 3179628"/>
              <a:gd name="connsiteY1" fmla="*/ 110829 h 2916092"/>
              <a:gd name="connsiteX2" fmla="*/ 3179628 w 3179628"/>
              <a:gd name="connsiteY2" fmla="*/ 1483386 h 2916092"/>
              <a:gd name="connsiteX3" fmla="*/ 3116058 w 3179628"/>
              <a:gd name="connsiteY3" fmla="*/ 2805264 h 2916092"/>
              <a:gd name="connsiteX4" fmla="*/ 1589814 w 3179628"/>
              <a:gd name="connsiteY4" fmla="*/ 2916092 h 2916092"/>
              <a:gd name="connsiteX5" fmla="*/ 63570 w 3179628"/>
              <a:gd name="connsiteY5" fmla="*/ 2805264 h 2916092"/>
              <a:gd name="connsiteX6" fmla="*/ 0 w 3179628"/>
              <a:gd name="connsiteY6" fmla="*/ 1458046 h 2916092"/>
              <a:gd name="connsiteX7" fmla="*/ 63570 w 3179628"/>
              <a:gd name="connsiteY7" fmla="*/ 110829 h 2916092"/>
              <a:gd name="connsiteX8" fmla="*/ 1589814 w 3179628"/>
              <a:gd name="connsiteY8" fmla="*/ 0 h 2916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9628" h="2916092">
                <a:moveTo>
                  <a:pt x="1589814" y="0"/>
                </a:moveTo>
                <a:cubicBezTo>
                  <a:pt x="2649684" y="0"/>
                  <a:pt x="3116058" y="110829"/>
                  <a:pt x="3116058" y="110829"/>
                </a:cubicBezTo>
                <a:cubicBezTo>
                  <a:pt x="3116058" y="110829"/>
                  <a:pt x="3179628" y="648251"/>
                  <a:pt x="3179628" y="1483386"/>
                </a:cubicBezTo>
                <a:cubicBezTo>
                  <a:pt x="3179628" y="2318521"/>
                  <a:pt x="3116058" y="2805264"/>
                  <a:pt x="3116058" y="2805264"/>
                </a:cubicBezTo>
                <a:cubicBezTo>
                  <a:pt x="3116058" y="2805264"/>
                  <a:pt x="2649703" y="2916092"/>
                  <a:pt x="1589814" y="2916092"/>
                </a:cubicBezTo>
                <a:cubicBezTo>
                  <a:pt x="529926" y="2916092"/>
                  <a:pt x="63570" y="2805264"/>
                  <a:pt x="63570" y="2805264"/>
                </a:cubicBezTo>
                <a:cubicBezTo>
                  <a:pt x="63570" y="2805264"/>
                  <a:pt x="0" y="2283785"/>
                  <a:pt x="0" y="1458046"/>
                </a:cubicBezTo>
                <a:cubicBezTo>
                  <a:pt x="0" y="632307"/>
                  <a:pt x="63570" y="110829"/>
                  <a:pt x="63570" y="110829"/>
                </a:cubicBezTo>
                <a:cubicBezTo>
                  <a:pt x="63570" y="110829"/>
                  <a:pt x="529945" y="0"/>
                  <a:pt x="1589814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 w="3175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10800000" cy="72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6B82CA0F-449E-F7AF-45E9-BFE7FC4094A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5269" y="1627075"/>
            <a:ext cx="3179628" cy="2916092"/>
          </a:xfrm>
          <a:custGeom>
            <a:avLst/>
            <a:gdLst>
              <a:gd name="connsiteX0" fmla="*/ 1589814 w 3179628"/>
              <a:gd name="connsiteY0" fmla="*/ 0 h 2916092"/>
              <a:gd name="connsiteX1" fmla="*/ 3116058 w 3179628"/>
              <a:gd name="connsiteY1" fmla="*/ 110829 h 2916092"/>
              <a:gd name="connsiteX2" fmla="*/ 3179628 w 3179628"/>
              <a:gd name="connsiteY2" fmla="*/ 1483386 h 2916092"/>
              <a:gd name="connsiteX3" fmla="*/ 3116058 w 3179628"/>
              <a:gd name="connsiteY3" fmla="*/ 2805264 h 2916092"/>
              <a:gd name="connsiteX4" fmla="*/ 1589814 w 3179628"/>
              <a:gd name="connsiteY4" fmla="*/ 2916092 h 2916092"/>
              <a:gd name="connsiteX5" fmla="*/ 63570 w 3179628"/>
              <a:gd name="connsiteY5" fmla="*/ 2805264 h 2916092"/>
              <a:gd name="connsiteX6" fmla="*/ 0 w 3179628"/>
              <a:gd name="connsiteY6" fmla="*/ 1458046 h 2916092"/>
              <a:gd name="connsiteX7" fmla="*/ 63570 w 3179628"/>
              <a:gd name="connsiteY7" fmla="*/ 110829 h 2916092"/>
              <a:gd name="connsiteX8" fmla="*/ 1589814 w 3179628"/>
              <a:gd name="connsiteY8" fmla="*/ 0 h 2916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9628" h="2916092">
                <a:moveTo>
                  <a:pt x="1589814" y="0"/>
                </a:moveTo>
                <a:cubicBezTo>
                  <a:pt x="2649684" y="0"/>
                  <a:pt x="3116058" y="110829"/>
                  <a:pt x="3116058" y="110829"/>
                </a:cubicBezTo>
                <a:cubicBezTo>
                  <a:pt x="3116058" y="110829"/>
                  <a:pt x="3179628" y="648251"/>
                  <a:pt x="3179628" y="1483386"/>
                </a:cubicBezTo>
                <a:cubicBezTo>
                  <a:pt x="3179628" y="2318521"/>
                  <a:pt x="3116058" y="2805264"/>
                  <a:pt x="3116058" y="2805264"/>
                </a:cubicBezTo>
                <a:cubicBezTo>
                  <a:pt x="3116058" y="2805264"/>
                  <a:pt x="2649703" y="2916092"/>
                  <a:pt x="1589814" y="2916092"/>
                </a:cubicBezTo>
                <a:cubicBezTo>
                  <a:pt x="529926" y="2916092"/>
                  <a:pt x="63570" y="2805264"/>
                  <a:pt x="63570" y="2805264"/>
                </a:cubicBezTo>
                <a:cubicBezTo>
                  <a:pt x="63570" y="2805264"/>
                  <a:pt x="0" y="2283785"/>
                  <a:pt x="0" y="1458046"/>
                </a:cubicBezTo>
                <a:cubicBezTo>
                  <a:pt x="0" y="632307"/>
                  <a:pt x="63570" y="110829"/>
                  <a:pt x="63570" y="110829"/>
                </a:cubicBezTo>
                <a:cubicBezTo>
                  <a:pt x="63570" y="110829"/>
                  <a:pt x="529945" y="0"/>
                  <a:pt x="1589814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 w="3175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BF866A1A-A3ED-9605-FC22-638533E098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5063" y="1627075"/>
            <a:ext cx="3179628" cy="2916092"/>
          </a:xfrm>
          <a:custGeom>
            <a:avLst/>
            <a:gdLst>
              <a:gd name="connsiteX0" fmla="*/ 1589814 w 3179628"/>
              <a:gd name="connsiteY0" fmla="*/ 0 h 2916092"/>
              <a:gd name="connsiteX1" fmla="*/ 3116058 w 3179628"/>
              <a:gd name="connsiteY1" fmla="*/ 110829 h 2916092"/>
              <a:gd name="connsiteX2" fmla="*/ 3179628 w 3179628"/>
              <a:gd name="connsiteY2" fmla="*/ 1483386 h 2916092"/>
              <a:gd name="connsiteX3" fmla="*/ 3116058 w 3179628"/>
              <a:gd name="connsiteY3" fmla="*/ 2805264 h 2916092"/>
              <a:gd name="connsiteX4" fmla="*/ 1589814 w 3179628"/>
              <a:gd name="connsiteY4" fmla="*/ 2916092 h 2916092"/>
              <a:gd name="connsiteX5" fmla="*/ 63570 w 3179628"/>
              <a:gd name="connsiteY5" fmla="*/ 2805264 h 2916092"/>
              <a:gd name="connsiteX6" fmla="*/ 0 w 3179628"/>
              <a:gd name="connsiteY6" fmla="*/ 1458046 h 2916092"/>
              <a:gd name="connsiteX7" fmla="*/ 63570 w 3179628"/>
              <a:gd name="connsiteY7" fmla="*/ 110829 h 2916092"/>
              <a:gd name="connsiteX8" fmla="*/ 1589814 w 3179628"/>
              <a:gd name="connsiteY8" fmla="*/ 0 h 2916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9628" h="2916092">
                <a:moveTo>
                  <a:pt x="1589814" y="0"/>
                </a:moveTo>
                <a:cubicBezTo>
                  <a:pt x="2649684" y="0"/>
                  <a:pt x="3116058" y="110829"/>
                  <a:pt x="3116058" y="110829"/>
                </a:cubicBezTo>
                <a:cubicBezTo>
                  <a:pt x="3116058" y="110829"/>
                  <a:pt x="3179628" y="648251"/>
                  <a:pt x="3179628" y="1483386"/>
                </a:cubicBezTo>
                <a:cubicBezTo>
                  <a:pt x="3179628" y="2318521"/>
                  <a:pt x="3116058" y="2805264"/>
                  <a:pt x="3116058" y="2805264"/>
                </a:cubicBezTo>
                <a:cubicBezTo>
                  <a:pt x="3116058" y="2805264"/>
                  <a:pt x="2649703" y="2916092"/>
                  <a:pt x="1589814" y="2916092"/>
                </a:cubicBezTo>
                <a:cubicBezTo>
                  <a:pt x="529926" y="2916092"/>
                  <a:pt x="63570" y="2805264"/>
                  <a:pt x="63570" y="2805264"/>
                </a:cubicBezTo>
                <a:cubicBezTo>
                  <a:pt x="63570" y="2805264"/>
                  <a:pt x="0" y="2283785"/>
                  <a:pt x="0" y="1458046"/>
                </a:cubicBezTo>
                <a:cubicBezTo>
                  <a:pt x="0" y="632307"/>
                  <a:pt x="63570" y="110829"/>
                  <a:pt x="63570" y="110829"/>
                </a:cubicBezTo>
                <a:cubicBezTo>
                  <a:pt x="63570" y="110829"/>
                  <a:pt x="529945" y="0"/>
                  <a:pt x="1589814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 w="3175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6">
            <a:extLst>
              <a:ext uri="{FF2B5EF4-FFF2-40B4-BE49-F238E27FC236}">
                <a16:creationId xmlns:a16="http://schemas.microsoft.com/office/drawing/2014/main" id="{C782765A-EF89-5670-18D0-1F1A1BEE37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5269" y="4759801"/>
            <a:ext cx="3178800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6">
            <a:extLst>
              <a:ext uri="{FF2B5EF4-FFF2-40B4-BE49-F238E27FC236}">
                <a16:creationId xmlns:a16="http://schemas.microsoft.com/office/drawing/2014/main" id="{32A7E88F-DDE0-7567-607E-AB0B2EDE56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0994" y="4759801"/>
            <a:ext cx="3178800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589DD3C4-C373-B2EA-FB28-A142AE998ED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35891" y="4759801"/>
            <a:ext cx="3178800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28570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avec photo full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86ED1AF3-25FF-5613-433D-4FBCBDDF9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04392" y="0"/>
            <a:ext cx="8487609" cy="6858000"/>
          </a:xfrm>
          <a:custGeom>
            <a:avLst/>
            <a:gdLst>
              <a:gd name="connsiteX0" fmla="*/ 4806155 w 8487609"/>
              <a:gd name="connsiteY0" fmla="*/ 0 h 6858000"/>
              <a:gd name="connsiteX1" fmla="*/ 6911099 w 8487609"/>
              <a:gd name="connsiteY1" fmla="*/ 0 h 6858000"/>
              <a:gd name="connsiteX2" fmla="*/ 8487609 w 8487609"/>
              <a:gd name="connsiteY2" fmla="*/ 0 h 6858000"/>
              <a:gd name="connsiteX3" fmla="*/ 8487609 w 8487609"/>
              <a:gd name="connsiteY3" fmla="*/ 6858000 h 6858000"/>
              <a:gd name="connsiteX4" fmla="*/ 6882424 w 8487609"/>
              <a:gd name="connsiteY4" fmla="*/ 6858000 h 6858000"/>
              <a:gd name="connsiteX5" fmla="*/ 0 w 8487609"/>
              <a:gd name="connsiteY5" fmla="*/ 6858000 h 6858000"/>
              <a:gd name="connsiteX6" fmla="*/ 124660 w 8487609"/>
              <a:gd name="connsiteY6" fmla="*/ 6494605 h 6858000"/>
              <a:gd name="connsiteX7" fmla="*/ 526498 w 8487609"/>
              <a:gd name="connsiteY7" fmla="*/ 3699257 h 6858000"/>
              <a:gd name="connsiteX8" fmla="*/ 526498 w 8487609"/>
              <a:gd name="connsiteY8" fmla="*/ 3176842 h 6858000"/>
              <a:gd name="connsiteX9" fmla="*/ 28674 w 8487609"/>
              <a:gd name="connsiteY9" fmla="*/ 63 h 6858000"/>
              <a:gd name="connsiteX10" fmla="*/ 4806155 w 8487609"/>
              <a:gd name="connsiteY10" fmla="*/ 6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87609" h="6858000">
                <a:moveTo>
                  <a:pt x="4806155" y="0"/>
                </a:moveTo>
                <a:lnTo>
                  <a:pt x="6911099" y="0"/>
                </a:lnTo>
                <a:lnTo>
                  <a:pt x="8487609" y="0"/>
                </a:lnTo>
                <a:lnTo>
                  <a:pt x="8487609" y="6858000"/>
                </a:lnTo>
                <a:lnTo>
                  <a:pt x="6882424" y="6858000"/>
                </a:lnTo>
                <a:lnTo>
                  <a:pt x="0" y="6858000"/>
                </a:lnTo>
                <a:lnTo>
                  <a:pt x="124660" y="6494605"/>
                </a:lnTo>
                <a:cubicBezTo>
                  <a:pt x="395499" y="5634541"/>
                  <a:pt x="526498" y="4691160"/>
                  <a:pt x="526498" y="3699257"/>
                </a:cubicBezTo>
                <a:lnTo>
                  <a:pt x="526498" y="3176842"/>
                </a:lnTo>
                <a:cubicBezTo>
                  <a:pt x="526498" y="2015871"/>
                  <a:pt x="364596" y="945007"/>
                  <a:pt x="28674" y="63"/>
                </a:cubicBezTo>
                <a:lnTo>
                  <a:pt x="4806155" y="63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3600000" cy="108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7702C9-0031-46C3-BA33-F53A2D990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444" y="1824421"/>
            <a:ext cx="3600000" cy="4680000"/>
          </a:xfrm>
        </p:spPr>
        <p:txBody>
          <a:bodyPr/>
          <a:lstStyle>
            <a:lvl2pPr>
              <a:defRPr>
                <a:solidFill>
                  <a:srgbClr val="F0C8AF"/>
                </a:solidFill>
              </a:defRPr>
            </a:lvl2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/>
            </a:lvl4pPr>
            <a:lvl5pPr>
              <a:defRPr>
                <a:solidFill>
                  <a:srgbClr val="F0C8A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A91761D4-8CB9-110E-94FC-08464B87C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95552" y="458684"/>
            <a:ext cx="159545" cy="159545"/>
          </a:xfrm>
          <a:custGeom>
            <a:avLst/>
            <a:gdLst>
              <a:gd name="connsiteX0" fmla="*/ 76495 w 159545"/>
              <a:gd name="connsiteY0" fmla="*/ 0 h 159545"/>
              <a:gd name="connsiteX1" fmla="*/ 82910 w 159545"/>
              <a:gd name="connsiteY1" fmla="*/ 0 h 159545"/>
              <a:gd name="connsiteX2" fmla="*/ 159545 w 159545"/>
              <a:gd name="connsiteY2" fmla="*/ 76564 h 159545"/>
              <a:gd name="connsiteX3" fmla="*/ 159545 w 159545"/>
              <a:gd name="connsiteY3" fmla="*/ 82980 h 159545"/>
              <a:gd name="connsiteX4" fmla="*/ 82980 w 159545"/>
              <a:gd name="connsiteY4" fmla="*/ 159545 h 159545"/>
              <a:gd name="connsiteX5" fmla="*/ 76564 w 159545"/>
              <a:gd name="connsiteY5" fmla="*/ 159545 h 159545"/>
              <a:gd name="connsiteX6" fmla="*/ 0 w 159545"/>
              <a:gd name="connsiteY6" fmla="*/ 82980 h 159545"/>
              <a:gd name="connsiteX7" fmla="*/ 0 w 159545"/>
              <a:gd name="connsiteY7" fmla="*/ 76564 h 159545"/>
              <a:gd name="connsiteX8" fmla="*/ 76495 w 159545"/>
              <a:gd name="connsiteY8" fmla="*/ 0 h 1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545" h="159545">
                <a:moveTo>
                  <a:pt x="76495" y="0"/>
                </a:moveTo>
                <a:lnTo>
                  <a:pt x="82910" y="0"/>
                </a:lnTo>
                <a:cubicBezTo>
                  <a:pt x="132210" y="0"/>
                  <a:pt x="159475" y="27196"/>
                  <a:pt x="159545" y="76564"/>
                </a:cubicBezTo>
                <a:lnTo>
                  <a:pt x="159545" y="82980"/>
                </a:lnTo>
                <a:cubicBezTo>
                  <a:pt x="159545" y="132350"/>
                  <a:pt x="132280" y="159545"/>
                  <a:pt x="82980" y="159545"/>
                </a:cubicBezTo>
                <a:lnTo>
                  <a:pt x="76564" y="159545"/>
                </a:lnTo>
                <a:cubicBezTo>
                  <a:pt x="27195" y="159545"/>
                  <a:pt x="0" y="132280"/>
                  <a:pt x="0" y="82980"/>
                </a:cubicBezTo>
                <a:lnTo>
                  <a:pt x="0" y="76564"/>
                </a:lnTo>
                <a:cubicBezTo>
                  <a:pt x="0" y="27196"/>
                  <a:pt x="27195" y="0"/>
                  <a:pt x="7649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AA046A1E-97AE-06AC-8323-AE0A23735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01969" y="5578542"/>
            <a:ext cx="146710" cy="813630"/>
          </a:xfrm>
          <a:custGeom>
            <a:avLst/>
            <a:gdLst>
              <a:gd name="connsiteX0" fmla="*/ 73976 w 146710"/>
              <a:gd name="connsiteY0" fmla="*/ 665717 h 813630"/>
              <a:gd name="connsiteX1" fmla="*/ 142044 w 146710"/>
              <a:gd name="connsiteY1" fmla="*/ 665717 h 813630"/>
              <a:gd name="connsiteX2" fmla="*/ 146694 w 146710"/>
              <a:gd name="connsiteY2" fmla="*/ 687332 h 813630"/>
              <a:gd name="connsiteX3" fmla="*/ 146694 w 146710"/>
              <a:gd name="connsiteY3" fmla="*/ 690313 h 813630"/>
              <a:gd name="connsiteX4" fmla="*/ 142054 w 146710"/>
              <a:gd name="connsiteY4" fmla="*/ 712506 h 813630"/>
              <a:gd name="connsiteX5" fmla="*/ 72524 w 146710"/>
              <a:gd name="connsiteY5" fmla="*/ 712506 h 813630"/>
              <a:gd name="connsiteX6" fmla="*/ 54682 w 146710"/>
              <a:gd name="connsiteY6" fmla="*/ 717549 h 813630"/>
              <a:gd name="connsiteX7" fmla="*/ 43704 w 146710"/>
              <a:gd name="connsiteY7" fmla="*/ 736077 h 813630"/>
              <a:gd name="connsiteX8" fmla="*/ 49110 w 146710"/>
              <a:gd name="connsiteY8" fmla="*/ 756419 h 813630"/>
              <a:gd name="connsiteX9" fmla="*/ 72526 w 146710"/>
              <a:gd name="connsiteY9" fmla="*/ 766914 h 813630"/>
              <a:gd name="connsiteX10" fmla="*/ 142070 w 146710"/>
              <a:gd name="connsiteY10" fmla="*/ 766914 h 813630"/>
              <a:gd name="connsiteX11" fmla="*/ 146694 w 146710"/>
              <a:gd name="connsiteY11" fmla="*/ 788484 h 813630"/>
              <a:gd name="connsiteX12" fmla="*/ 146694 w 146710"/>
              <a:gd name="connsiteY12" fmla="*/ 791465 h 813630"/>
              <a:gd name="connsiteX13" fmla="*/ 142048 w 146710"/>
              <a:gd name="connsiteY13" fmla="*/ 813630 h 813630"/>
              <a:gd name="connsiteX14" fmla="*/ 7152 w 146710"/>
              <a:gd name="connsiteY14" fmla="*/ 813630 h 813630"/>
              <a:gd name="connsiteX15" fmla="*/ 2502 w 146710"/>
              <a:gd name="connsiteY15" fmla="*/ 792058 h 813630"/>
              <a:gd name="connsiteX16" fmla="*/ 2502 w 146710"/>
              <a:gd name="connsiteY16" fmla="*/ 789082 h 813630"/>
              <a:gd name="connsiteX17" fmla="*/ 7152 w 146710"/>
              <a:gd name="connsiteY17" fmla="*/ 769096 h 813630"/>
              <a:gd name="connsiteX18" fmla="*/ 0 w 146710"/>
              <a:gd name="connsiteY18" fmla="*/ 739697 h 813630"/>
              <a:gd name="connsiteX19" fmla="*/ 19462 w 146710"/>
              <a:gd name="connsiteY19" fmla="*/ 686394 h 813630"/>
              <a:gd name="connsiteX20" fmla="*/ 73976 w 146710"/>
              <a:gd name="connsiteY20" fmla="*/ 665717 h 813630"/>
              <a:gd name="connsiteX21" fmla="*/ 56758 w 146710"/>
              <a:gd name="connsiteY21" fmla="*/ 549329 h 813630"/>
              <a:gd name="connsiteX22" fmla="*/ 55556 w 146710"/>
              <a:gd name="connsiteY22" fmla="*/ 549652 h 813630"/>
              <a:gd name="connsiteX23" fmla="*/ 34850 w 146710"/>
              <a:gd name="connsiteY23" fmla="*/ 575028 h 813630"/>
              <a:gd name="connsiteX24" fmla="*/ 34852 w 146710"/>
              <a:gd name="connsiteY24" fmla="*/ 575028 h 813630"/>
              <a:gd name="connsiteX25" fmla="*/ 55522 w 146710"/>
              <a:gd name="connsiteY25" fmla="*/ 599812 h 813630"/>
              <a:gd name="connsiteX26" fmla="*/ 56758 w 146710"/>
              <a:gd name="connsiteY26" fmla="*/ 600193 h 813630"/>
              <a:gd name="connsiteX27" fmla="*/ 76756 w 146710"/>
              <a:gd name="connsiteY27" fmla="*/ 502939 h 813630"/>
              <a:gd name="connsiteX28" fmla="*/ 86036 w 146710"/>
              <a:gd name="connsiteY28" fmla="*/ 503143 h 813630"/>
              <a:gd name="connsiteX29" fmla="*/ 86036 w 146710"/>
              <a:gd name="connsiteY29" fmla="*/ 600731 h 813630"/>
              <a:gd name="connsiteX30" fmla="*/ 87226 w 146710"/>
              <a:gd name="connsiteY30" fmla="*/ 600426 h 813630"/>
              <a:gd name="connsiteX31" fmla="*/ 111314 w 146710"/>
              <a:gd name="connsiteY31" fmla="*/ 568044 h 813630"/>
              <a:gd name="connsiteX32" fmla="*/ 96968 w 146710"/>
              <a:gd name="connsiteY32" fmla="*/ 535497 h 813630"/>
              <a:gd name="connsiteX33" fmla="*/ 104390 w 146710"/>
              <a:gd name="connsiteY33" fmla="*/ 520952 h 813630"/>
              <a:gd name="connsiteX34" fmla="*/ 105786 w 146710"/>
              <a:gd name="connsiteY34" fmla="*/ 519226 h 813630"/>
              <a:gd name="connsiteX35" fmla="*/ 118614 w 146710"/>
              <a:gd name="connsiteY35" fmla="*/ 508730 h 813630"/>
              <a:gd name="connsiteX36" fmla="*/ 146670 w 146710"/>
              <a:gd name="connsiteY36" fmla="*/ 570459 h 813630"/>
              <a:gd name="connsiteX37" fmla="*/ 146672 w 146710"/>
              <a:gd name="connsiteY37" fmla="*/ 570459 h 813630"/>
              <a:gd name="connsiteX38" fmla="*/ 73870 w 146710"/>
              <a:gd name="connsiteY38" fmla="*/ 647384 h 813630"/>
              <a:gd name="connsiteX39" fmla="*/ 73344 w 146710"/>
              <a:gd name="connsiteY39" fmla="*/ 647384 h 813630"/>
              <a:gd name="connsiteX40" fmla="*/ 18 w 146710"/>
              <a:gd name="connsiteY40" fmla="*/ 575028 h 813630"/>
              <a:gd name="connsiteX41" fmla="*/ 22866 w 146710"/>
              <a:gd name="connsiteY41" fmla="*/ 520512 h 813630"/>
              <a:gd name="connsiteX42" fmla="*/ 76756 w 146710"/>
              <a:gd name="connsiteY42" fmla="*/ 502939 h 813630"/>
              <a:gd name="connsiteX43" fmla="*/ 146710 w 146710"/>
              <a:gd name="connsiteY43" fmla="*/ 457539 h 813630"/>
              <a:gd name="connsiteX44" fmla="*/ 146710 w 146710"/>
              <a:gd name="connsiteY44" fmla="*/ 457541 h 813630"/>
              <a:gd name="connsiteX45" fmla="*/ 146708 w 146710"/>
              <a:gd name="connsiteY45" fmla="*/ 457540 h 813630"/>
              <a:gd name="connsiteX46" fmla="*/ 113678 w 146710"/>
              <a:gd name="connsiteY46" fmla="*/ 343882 h 813630"/>
              <a:gd name="connsiteX47" fmla="*/ 132216 w 146710"/>
              <a:gd name="connsiteY47" fmla="*/ 355848 h 813630"/>
              <a:gd name="connsiteX48" fmla="*/ 134320 w 146710"/>
              <a:gd name="connsiteY48" fmla="*/ 357951 h 813630"/>
              <a:gd name="connsiteX49" fmla="*/ 146704 w 146710"/>
              <a:gd name="connsiteY49" fmla="*/ 376907 h 813630"/>
              <a:gd name="connsiteX50" fmla="*/ 106460 w 146710"/>
              <a:gd name="connsiteY50" fmla="*/ 417225 h 813630"/>
              <a:gd name="connsiteX51" fmla="*/ 146708 w 146710"/>
              <a:gd name="connsiteY51" fmla="*/ 457540 h 813630"/>
              <a:gd name="connsiteX52" fmla="*/ 134744 w 146710"/>
              <a:gd name="connsiteY52" fmla="*/ 476076 h 813630"/>
              <a:gd name="connsiteX53" fmla="*/ 132640 w 146710"/>
              <a:gd name="connsiteY53" fmla="*/ 478179 h 813630"/>
              <a:gd name="connsiteX54" fmla="*/ 113682 w 146710"/>
              <a:gd name="connsiteY54" fmla="*/ 490566 h 813630"/>
              <a:gd name="connsiteX55" fmla="*/ 82780 w 146710"/>
              <a:gd name="connsiteY55" fmla="*/ 459233 h 813630"/>
              <a:gd name="connsiteX56" fmla="*/ 63944 w 146710"/>
              <a:gd name="connsiteY56" fmla="*/ 459233 h 813630"/>
              <a:gd name="connsiteX57" fmla="*/ 33050 w 146710"/>
              <a:gd name="connsiteY57" fmla="*/ 490564 h 813630"/>
              <a:gd name="connsiteX58" fmla="*/ 14512 w 146710"/>
              <a:gd name="connsiteY58" fmla="*/ 478604 h 813630"/>
              <a:gd name="connsiteX59" fmla="*/ 12408 w 146710"/>
              <a:gd name="connsiteY59" fmla="*/ 476501 h 813630"/>
              <a:gd name="connsiteX60" fmla="*/ 24 w 146710"/>
              <a:gd name="connsiteY60" fmla="*/ 457542 h 813630"/>
              <a:gd name="connsiteX61" fmla="*/ 40268 w 146710"/>
              <a:gd name="connsiteY61" fmla="*/ 417225 h 813630"/>
              <a:gd name="connsiteX62" fmla="*/ 18 w 146710"/>
              <a:gd name="connsiteY62" fmla="*/ 376905 h 813630"/>
              <a:gd name="connsiteX63" fmla="*/ 11984 w 146710"/>
              <a:gd name="connsiteY63" fmla="*/ 358373 h 813630"/>
              <a:gd name="connsiteX64" fmla="*/ 14088 w 146710"/>
              <a:gd name="connsiteY64" fmla="*/ 356270 h 813630"/>
              <a:gd name="connsiteX65" fmla="*/ 33046 w 146710"/>
              <a:gd name="connsiteY65" fmla="*/ 343885 h 813630"/>
              <a:gd name="connsiteX66" fmla="*/ 63946 w 146710"/>
              <a:gd name="connsiteY66" fmla="*/ 375237 h 813630"/>
              <a:gd name="connsiteX67" fmla="*/ 82780 w 146710"/>
              <a:gd name="connsiteY67" fmla="*/ 375237 h 813630"/>
              <a:gd name="connsiteX68" fmla="*/ 4666 w 146710"/>
              <a:gd name="connsiteY68" fmla="*/ 272842 h 813630"/>
              <a:gd name="connsiteX69" fmla="*/ 142046 w 146710"/>
              <a:gd name="connsiteY69" fmla="*/ 272842 h 813630"/>
              <a:gd name="connsiteX70" fmla="*/ 146694 w 146710"/>
              <a:gd name="connsiteY70" fmla="*/ 294453 h 813630"/>
              <a:gd name="connsiteX71" fmla="*/ 146694 w 146710"/>
              <a:gd name="connsiteY71" fmla="*/ 297433 h 813630"/>
              <a:gd name="connsiteX72" fmla="*/ 146696 w 146710"/>
              <a:gd name="connsiteY72" fmla="*/ 297433 h 813630"/>
              <a:gd name="connsiteX73" fmla="*/ 142048 w 146710"/>
              <a:gd name="connsiteY73" fmla="*/ 319641 h 813630"/>
              <a:gd name="connsiteX74" fmla="*/ 4666 w 146710"/>
              <a:gd name="connsiteY74" fmla="*/ 319641 h 813630"/>
              <a:gd name="connsiteX75" fmla="*/ 18 w 146710"/>
              <a:gd name="connsiteY75" fmla="*/ 298030 h 813630"/>
              <a:gd name="connsiteX76" fmla="*/ 18 w 146710"/>
              <a:gd name="connsiteY76" fmla="*/ 295050 h 813630"/>
              <a:gd name="connsiteX77" fmla="*/ 4666 w 146710"/>
              <a:gd name="connsiteY77" fmla="*/ 272842 h 813630"/>
              <a:gd name="connsiteX78" fmla="*/ 121584 w 146710"/>
              <a:gd name="connsiteY78" fmla="*/ 140251 h 813630"/>
              <a:gd name="connsiteX79" fmla="*/ 124554 w 146710"/>
              <a:gd name="connsiteY79" fmla="*/ 140251 h 813630"/>
              <a:gd name="connsiteX80" fmla="*/ 146706 w 146710"/>
              <a:gd name="connsiteY80" fmla="*/ 144886 h 813630"/>
              <a:gd name="connsiteX81" fmla="*/ 146706 w 146710"/>
              <a:gd name="connsiteY81" fmla="*/ 179666 h 813630"/>
              <a:gd name="connsiteX82" fmla="*/ 82882 w 146710"/>
              <a:gd name="connsiteY82" fmla="*/ 244561 h 813630"/>
              <a:gd name="connsiteX83" fmla="*/ 4688 w 146710"/>
              <a:gd name="connsiteY83" fmla="*/ 244561 h 813630"/>
              <a:gd name="connsiteX84" fmla="*/ 52 w 146710"/>
              <a:gd name="connsiteY84" fmla="*/ 223006 h 813630"/>
              <a:gd name="connsiteX85" fmla="*/ 52 w 146710"/>
              <a:gd name="connsiteY85" fmla="*/ 220034 h 813630"/>
              <a:gd name="connsiteX86" fmla="*/ 4688 w 146710"/>
              <a:gd name="connsiteY86" fmla="*/ 197884 h 813630"/>
              <a:gd name="connsiteX87" fmla="*/ 23344 w 146710"/>
              <a:gd name="connsiteY87" fmla="*/ 197884 h 813630"/>
              <a:gd name="connsiteX88" fmla="*/ 23344 w 146710"/>
              <a:gd name="connsiteY88" fmla="*/ 164961 h 813630"/>
              <a:gd name="connsiteX89" fmla="*/ 44900 w 146710"/>
              <a:gd name="connsiteY89" fmla="*/ 160325 h 813630"/>
              <a:gd name="connsiteX90" fmla="*/ 47872 w 146710"/>
              <a:gd name="connsiteY90" fmla="*/ 160325 h 813630"/>
              <a:gd name="connsiteX91" fmla="*/ 70024 w 146710"/>
              <a:gd name="connsiteY91" fmla="*/ 164962 h 813630"/>
              <a:gd name="connsiteX92" fmla="*/ 70024 w 146710"/>
              <a:gd name="connsiteY92" fmla="*/ 197886 h 813630"/>
              <a:gd name="connsiteX93" fmla="*/ 81812 w 146710"/>
              <a:gd name="connsiteY93" fmla="*/ 197886 h 813630"/>
              <a:gd name="connsiteX94" fmla="*/ 100028 w 146710"/>
              <a:gd name="connsiteY94" fmla="*/ 179670 h 813630"/>
              <a:gd name="connsiteX95" fmla="*/ 100028 w 146710"/>
              <a:gd name="connsiteY95" fmla="*/ 144886 h 813630"/>
              <a:gd name="connsiteX96" fmla="*/ 121584 w 146710"/>
              <a:gd name="connsiteY96" fmla="*/ 140251 h 813630"/>
              <a:gd name="connsiteX97" fmla="*/ 33098 w 146710"/>
              <a:gd name="connsiteY97" fmla="*/ 0 h 813630"/>
              <a:gd name="connsiteX98" fmla="*/ 74608 w 146710"/>
              <a:gd name="connsiteY98" fmla="*/ 41508 h 813630"/>
              <a:gd name="connsiteX99" fmla="*/ 94970 w 146710"/>
              <a:gd name="connsiteY99" fmla="*/ 49943 h 813630"/>
              <a:gd name="connsiteX100" fmla="*/ 142046 w 146710"/>
              <a:gd name="connsiteY100" fmla="*/ 49943 h 813630"/>
              <a:gd name="connsiteX101" fmla="*/ 146692 w 146710"/>
              <a:gd name="connsiteY101" fmla="*/ 71547 h 813630"/>
              <a:gd name="connsiteX102" fmla="*/ 146692 w 146710"/>
              <a:gd name="connsiteY102" fmla="*/ 74526 h 813630"/>
              <a:gd name="connsiteX103" fmla="*/ 146694 w 146710"/>
              <a:gd name="connsiteY103" fmla="*/ 74526 h 813630"/>
              <a:gd name="connsiteX104" fmla="*/ 142048 w 146710"/>
              <a:gd name="connsiteY104" fmla="*/ 96728 h 813630"/>
              <a:gd name="connsiteX105" fmla="*/ 94974 w 146710"/>
              <a:gd name="connsiteY105" fmla="*/ 96728 h 813630"/>
              <a:gd name="connsiteX106" fmla="*/ 74610 w 146710"/>
              <a:gd name="connsiteY106" fmla="*/ 105164 h 813630"/>
              <a:gd name="connsiteX107" fmla="*/ 33102 w 146710"/>
              <a:gd name="connsiteY107" fmla="*/ 146674 h 813630"/>
              <a:gd name="connsiteX108" fmla="*/ 14520 w 146710"/>
              <a:gd name="connsiteY108" fmla="*/ 134696 h 813630"/>
              <a:gd name="connsiteX109" fmla="*/ 12420 w 146710"/>
              <a:gd name="connsiteY109" fmla="*/ 132593 h 813630"/>
              <a:gd name="connsiteX110" fmla="*/ 20 w 146710"/>
              <a:gd name="connsiteY110" fmla="*/ 113590 h 813630"/>
              <a:gd name="connsiteX111" fmla="*/ 40272 w 146710"/>
              <a:gd name="connsiteY111" fmla="*/ 73336 h 813630"/>
              <a:gd name="connsiteX112" fmla="*/ 16 w 146710"/>
              <a:gd name="connsiteY112" fmla="*/ 33082 h 813630"/>
              <a:gd name="connsiteX113" fmla="*/ 11994 w 146710"/>
              <a:gd name="connsiteY113" fmla="*/ 14502 h 813630"/>
              <a:gd name="connsiteX114" fmla="*/ 14094 w 146710"/>
              <a:gd name="connsiteY114" fmla="*/ 12399 h 813630"/>
              <a:gd name="connsiteX115" fmla="*/ 33098 w 146710"/>
              <a:gd name="connsiteY115" fmla="*/ 0 h 8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46710" h="813630">
                <a:moveTo>
                  <a:pt x="73976" y="665717"/>
                </a:moveTo>
                <a:lnTo>
                  <a:pt x="142044" y="665717"/>
                </a:lnTo>
                <a:cubicBezTo>
                  <a:pt x="145128" y="671840"/>
                  <a:pt x="146694" y="679110"/>
                  <a:pt x="146694" y="687332"/>
                </a:cubicBezTo>
                <a:lnTo>
                  <a:pt x="146694" y="690313"/>
                </a:lnTo>
                <a:cubicBezTo>
                  <a:pt x="146694" y="698912"/>
                  <a:pt x="145132" y="706375"/>
                  <a:pt x="142054" y="712506"/>
                </a:cubicBezTo>
                <a:cubicBezTo>
                  <a:pt x="119782" y="712486"/>
                  <a:pt x="94848" y="712508"/>
                  <a:pt x="72524" y="712506"/>
                </a:cubicBezTo>
                <a:cubicBezTo>
                  <a:pt x="66096" y="712506"/>
                  <a:pt x="60038" y="713826"/>
                  <a:pt x="54682" y="717549"/>
                </a:cubicBezTo>
                <a:cubicBezTo>
                  <a:pt x="48218" y="722045"/>
                  <a:pt x="44586" y="728268"/>
                  <a:pt x="43704" y="736077"/>
                </a:cubicBezTo>
                <a:cubicBezTo>
                  <a:pt x="42862" y="743553"/>
                  <a:pt x="44456" y="750426"/>
                  <a:pt x="49110" y="756419"/>
                </a:cubicBezTo>
                <a:cubicBezTo>
                  <a:pt x="55128" y="764169"/>
                  <a:pt x="63476" y="766898"/>
                  <a:pt x="72526" y="766914"/>
                </a:cubicBezTo>
                <a:cubicBezTo>
                  <a:pt x="94678" y="766950"/>
                  <a:pt x="119964" y="766943"/>
                  <a:pt x="142070" y="766914"/>
                </a:cubicBezTo>
                <a:cubicBezTo>
                  <a:pt x="145138" y="773028"/>
                  <a:pt x="146694" y="780282"/>
                  <a:pt x="146694" y="788484"/>
                </a:cubicBezTo>
                <a:lnTo>
                  <a:pt x="146694" y="791465"/>
                </a:lnTo>
                <a:cubicBezTo>
                  <a:pt x="146694" y="800070"/>
                  <a:pt x="145132" y="807493"/>
                  <a:pt x="142048" y="813630"/>
                </a:cubicBezTo>
                <a:lnTo>
                  <a:pt x="7152" y="813630"/>
                </a:lnTo>
                <a:cubicBezTo>
                  <a:pt x="4066" y="807516"/>
                  <a:pt x="2504" y="800263"/>
                  <a:pt x="2502" y="792058"/>
                </a:cubicBezTo>
                <a:lnTo>
                  <a:pt x="2502" y="789082"/>
                </a:lnTo>
                <a:cubicBezTo>
                  <a:pt x="2502" y="777950"/>
                  <a:pt x="7152" y="769096"/>
                  <a:pt x="7152" y="769096"/>
                </a:cubicBezTo>
                <a:cubicBezTo>
                  <a:pt x="3196" y="759880"/>
                  <a:pt x="0" y="749781"/>
                  <a:pt x="0" y="739697"/>
                </a:cubicBezTo>
                <a:cubicBezTo>
                  <a:pt x="0" y="719661"/>
                  <a:pt x="4486" y="701674"/>
                  <a:pt x="19462" y="686394"/>
                </a:cubicBezTo>
                <a:cubicBezTo>
                  <a:pt x="32742" y="672849"/>
                  <a:pt x="53578" y="666162"/>
                  <a:pt x="73976" y="665717"/>
                </a:cubicBezTo>
                <a:close/>
                <a:moveTo>
                  <a:pt x="56758" y="549329"/>
                </a:moveTo>
                <a:lnTo>
                  <a:pt x="55556" y="549652"/>
                </a:lnTo>
                <a:cubicBezTo>
                  <a:pt x="42590" y="553130"/>
                  <a:pt x="34850" y="562617"/>
                  <a:pt x="34850" y="575028"/>
                </a:cubicBezTo>
                <a:lnTo>
                  <a:pt x="34852" y="575028"/>
                </a:lnTo>
                <a:cubicBezTo>
                  <a:pt x="34852" y="586897"/>
                  <a:pt x="42192" y="595699"/>
                  <a:pt x="55522" y="599812"/>
                </a:cubicBezTo>
                <a:lnTo>
                  <a:pt x="56758" y="600193"/>
                </a:lnTo>
                <a:close/>
                <a:moveTo>
                  <a:pt x="76756" y="502939"/>
                </a:moveTo>
                <a:cubicBezTo>
                  <a:pt x="79662" y="502939"/>
                  <a:pt x="82922" y="502939"/>
                  <a:pt x="86036" y="503143"/>
                </a:cubicBezTo>
                <a:lnTo>
                  <a:pt x="86036" y="600731"/>
                </a:lnTo>
                <a:lnTo>
                  <a:pt x="87226" y="600426"/>
                </a:lnTo>
                <a:cubicBezTo>
                  <a:pt x="102984" y="596394"/>
                  <a:pt x="111314" y="585196"/>
                  <a:pt x="111314" y="568044"/>
                </a:cubicBezTo>
                <a:cubicBezTo>
                  <a:pt x="111314" y="555504"/>
                  <a:pt x="107150" y="546041"/>
                  <a:pt x="96968" y="535497"/>
                </a:cubicBezTo>
                <a:cubicBezTo>
                  <a:pt x="98090" y="530544"/>
                  <a:pt x="100586" y="525653"/>
                  <a:pt x="104390" y="520952"/>
                </a:cubicBezTo>
                <a:lnTo>
                  <a:pt x="105786" y="519226"/>
                </a:lnTo>
                <a:cubicBezTo>
                  <a:pt x="109760" y="514320"/>
                  <a:pt x="114072" y="510792"/>
                  <a:pt x="118614" y="508730"/>
                </a:cubicBezTo>
                <a:cubicBezTo>
                  <a:pt x="137492" y="523924"/>
                  <a:pt x="146670" y="544123"/>
                  <a:pt x="146670" y="570459"/>
                </a:cubicBezTo>
                <a:lnTo>
                  <a:pt x="146672" y="570459"/>
                </a:lnTo>
                <a:cubicBezTo>
                  <a:pt x="146672" y="615751"/>
                  <a:pt x="116736" y="647384"/>
                  <a:pt x="73870" y="647384"/>
                </a:cubicBezTo>
                <a:lnTo>
                  <a:pt x="73344" y="647384"/>
                </a:lnTo>
                <a:cubicBezTo>
                  <a:pt x="31542" y="647384"/>
                  <a:pt x="18" y="616277"/>
                  <a:pt x="18" y="575028"/>
                </a:cubicBezTo>
                <a:cubicBezTo>
                  <a:pt x="18" y="552012"/>
                  <a:pt x="7916" y="533161"/>
                  <a:pt x="22866" y="520512"/>
                </a:cubicBezTo>
                <a:cubicBezTo>
                  <a:pt x="36452" y="509015"/>
                  <a:pt x="55088" y="502939"/>
                  <a:pt x="76756" y="502939"/>
                </a:cubicBezTo>
                <a:close/>
                <a:moveTo>
                  <a:pt x="146710" y="457539"/>
                </a:moveTo>
                <a:lnTo>
                  <a:pt x="146710" y="457541"/>
                </a:lnTo>
                <a:lnTo>
                  <a:pt x="146708" y="457540"/>
                </a:lnTo>
                <a:close/>
                <a:moveTo>
                  <a:pt x="113678" y="343882"/>
                </a:moveTo>
                <a:cubicBezTo>
                  <a:pt x="120178" y="346021"/>
                  <a:pt x="126412" y="350044"/>
                  <a:pt x="132216" y="355848"/>
                </a:cubicBezTo>
                <a:lnTo>
                  <a:pt x="134320" y="357951"/>
                </a:lnTo>
                <a:cubicBezTo>
                  <a:pt x="140390" y="364020"/>
                  <a:pt x="144554" y="370394"/>
                  <a:pt x="146704" y="376907"/>
                </a:cubicBezTo>
                <a:lnTo>
                  <a:pt x="106460" y="417225"/>
                </a:lnTo>
                <a:lnTo>
                  <a:pt x="146708" y="457540"/>
                </a:lnTo>
                <a:lnTo>
                  <a:pt x="134744" y="476076"/>
                </a:lnTo>
                <a:lnTo>
                  <a:pt x="132640" y="478179"/>
                </a:lnTo>
                <a:cubicBezTo>
                  <a:pt x="126568" y="484252"/>
                  <a:pt x="120194" y="488416"/>
                  <a:pt x="113682" y="490566"/>
                </a:cubicBezTo>
                <a:lnTo>
                  <a:pt x="82780" y="459233"/>
                </a:lnTo>
                <a:cubicBezTo>
                  <a:pt x="77578" y="454039"/>
                  <a:pt x="69146" y="454039"/>
                  <a:pt x="63944" y="459233"/>
                </a:cubicBezTo>
                <a:lnTo>
                  <a:pt x="33050" y="490564"/>
                </a:lnTo>
                <a:cubicBezTo>
                  <a:pt x="26550" y="488425"/>
                  <a:pt x="20316" y="484405"/>
                  <a:pt x="14512" y="478604"/>
                </a:cubicBezTo>
                <a:lnTo>
                  <a:pt x="12408" y="476501"/>
                </a:lnTo>
                <a:cubicBezTo>
                  <a:pt x="6336" y="470428"/>
                  <a:pt x="2170" y="464053"/>
                  <a:pt x="24" y="457542"/>
                </a:cubicBezTo>
                <a:lnTo>
                  <a:pt x="40268" y="417225"/>
                </a:lnTo>
                <a:lnTo>
                  <a:pt x="18" y="376905"/>
                </a:lnTo>
                <a:cubicBezTo>
                  <a:pt x="2156" y="370405"/>
                  <a:pt x="6180" y="364177"/>
                  <a:pt x="11984" y="358373"/>
                </a:cubicBezTo>
                <a:lnTo>
                  <a:pt x="14088" y="356270"/>
                </a:lnTo>
                <a:cubicBezTo>
                  <a:pt x="20160" y="350198"/>
                  <a:pt x="26534" y="346033"/>
                  <a:pt x="33046" y="343885"/>
                </a:cubicBezTo>
                <a:lnTo>
                  <a:pt x="63946" y="375237"/>
                </a:lnTo>
                <a:cubicBezTo>
                  <a:pt x="69148" y="380432"/>
                  <a:pt x="77578" y="380432"/>
                  <a:pt x="82780" y="375237"/>
                </a:cubicBezTo>
                <a:close/>
                <a:moveTo>
                  <a:pt x="4666" y="272842"/>
                </a:moveTo>
                <a:lnTo>
                  <a:pt x="142046" y="272842"/>
                </a:lnTo>
                <a:cubicBezTo>
                  <a:pt x="145130" y="278963"/>
                  <a:pt x="146694" y="286231"/>
                  <a:pt x="146694" y="294453"/>
                </a:cubicBezTo>
                <a:lnTo>
                  <a:pt x="146694" y="297433"/>
                </a:lnTo>
                <a:lnTo>
                  <a:pt x="146696" y="297433"/>
                </a:lnTo>
                <a:cubicBezTo>
                  <a:pt x="146696" y="306036"/>
                  <a:pt x="145132" y="313503"/>
                  <a:pt x="142048" y="319641"/>
                </a:cubicBezTo>
                <a:lnTo>
                  <a:pt x="4666" y="319641"/>
                </a:lnTo>
                <a:cubicBezTo>
                  <a:pt x="1584" y="313520"/>
                  <a:pt x="18" y="306252"/>
                  <a:pt x="18" y="298030"/>
                </a:cubicBezTo>
                <a:lnTo>
                  <a:pt x="18" y="295050"/>
                </a:lnTo>
                <a:cubicBezTo>
                  <a:pt x="18" y="286445"/>
                  <a:pt x="1582" y="278976"/>
                  <a:pt x="4666" y="272842"/>
                </a:cubicBezTo>
                <a:close/>
                <a:moveTo>
                  <a:pt x="121584" y="140251"/>
                </a:moveTo>
                <a:lnTo>
                  <a:pt x="124554" y="140251"/>
                </a:lnTo>
                <a:cubicBezTo>
                  <a:pt x="133136" y="140251"/>
                  <a:pt x="140586" y="141810"/>
                  <a:pt x="146706" y="144886"/>
                </a:cubicBezTo>
                <a:lnTo>
                  <a:pt x="146706" y="179666"/>
                </a:lnTo>
                <a:cubicBezTo>
                  <a:pt x="146706" y="215157"/>
                  <a:pt x="117124" y="244561"/>
                  <a:pt x="82882" y="244561"/>
                </a:cubicBezTo>
                <a:lnTo>
                  <a:pt x="4688" y="244561"/>
                </a:lnTo>
                <a:cubicBezTo>
                  <a:pt x="1612" y="238454"/>
                  <a:pt x="52" y="231205"/>
                  <a:pt x="52" y="223006"/>
                </a:cubicBezTo>
                <a:lnTo>
                  <a:pt x="52" y="220034"/>
                </a:lnTo>
                <a:cubicBezTo>
                  <a:pt x="52" y="211453"/>
                  <a:pt x="1612" y="204004"/>
                  <a:pt x="4688" y="197884"/>
                </a:cubicBezTo>
                <a:lnTo>
                  <a:pt x="23344" y="197884"/>
                </a:lnTo>
                <a:lnTo>
                  <a:pt x="23344" y="164961"/>
                </a:lnTo>
                <a:cubicBezTo>
                  <a:pt x="29452" y="161885"/>
                  <a:pt x="36702" y="160325"/>
                  <a:pt x="44900" y="160325"/>
                </a:cubicBezTo>
                <a:lnTo>
                  <a:pt x="47872" y="160325"/>
                </a:lnTo>
                <a:cubicBezTo>
                  <a:pt x="56454" y="160325"/>
                  <a:pt x="63902" y="161885"/>
                  <a:pt x="70024" y="164962"/>
                </a:cubicBezTo>
                <a:lnTo>
                  <a:pt x="70024" y="197886"/>
                </a:lnTo>
                <a:lnTo>
                  <a:pt x="81812" y="197886"/>
                </a:lnTo>
                <a:cubicBezTo>
                  <a:pt x="91856" y="197886"/>
                  <a:pt x="100028" y="189714"/>
                  <a:pt x="100028" y="179670"/>
                </a:cubicBezTo>
                <a:lnTo>
                  <a:pt x="100028" y="144886"/>
                </a:lnTo>
                <a:cubicBezTo>
                  <a:pt x="106136" y="141810"/>
                  <a:pt x="113382" y="140251"/>
                  <a:pt x="121584" y="140251"/>
                </a:cubicBezTo>
                <a:close/>
                <a:moveTo>
                  <a:pt x="33098" y="0"/>
                </a:moveTo>
                <a:lnTo>
                  <a:pt x="74608" y="41508"/>
                </a:lnTo>
                <a:cubicBezTo>
                  <a:pt x="80008" y="46908"/>
                  <a:pt x="87332" y="49943"/>
                  <a:pt x="94970" y="49943"/>
                </a:cubicBezTo>
                <a:lnTo>
                  <a:pt x="142046" y="49943"/>
                </a:lnTo>
                <a:cubicBezTo>
                  <a:pt x="145130" y="56062"/>
                  <a:pt x="146692" y="63328"/>
                  <a:pt x="146692" y="71547"/>
                </a:cubicBezTo>
                <a:lnTo>
                  <a:pt x="146692" y="74526"/>
                </a:lnTo>
                <a:lnTo>
                  <a:pt x="146694" y="74526"/>
                </a:lnTo>
                <a:cubicBezTo>
                  <a:pt x="146694" y="83128"/>
                  <a:pt x="145132" y="90595"/>
                  <a:pt x="142048" y="96728"/>
                </a:cubicBezTo>
                <a:lnTo>
                  <a:pt x="94974" y="96728"/>
                </a:lnTo>
                <a:cubicBezTo>
                  <a:pt x="87336" y="96728"/>
                  <a:pt x="80010" y="99763"/>
                  <a:pt x="74610" y="105164"/>
                </a:cubicBezTo>
                <a:lnTo>
                  <a:pt x="33102" y="146674"/>
                </a:lnTo>
                <a:cubicBezTo>
                  <a:pt x="26586" y="144540"/>
                  <a:pt x="20338" y="140512"/>
                  <a:pt x="14520" y="134696"/>
                </a:cubicBezTo>
                <a:lnTo>
                  <a:pt x="12420" y="132593"/>
                </a:lnTo>
                <a:cubicBezTo>
                  <a:pt x="6334" y="126507"/>
                  <a:pt x="2164" y="120115"/>
                  <a:pt x="20" y="113590"/>
                </a:cubicBezTo>
                <a:lnTo>
                  <a:pt x="40272" y="73336"/>
                </a:lnTo>
                <a:lnTo>
                  <a:pt x="16" y="33082"/>
                </a:lnTo>
                <a:cubicBezTo>
                  <a:pt x="2150" y="26566"/>
                  <a:pt x="6178" y="20318"/>
                  <a:pt x="11994" y="14502"/>
                </a:cubicBezTo>
                <a:lnTo>
                  <a:pt x="14094" y="12399"/>
                </a:lnTo>
                <a:cubicBezTo>
                  <a:pt x="20182" y="6312"/>
                  <a:pt x="26572" y="2144"/>
                  <a:pt x="3309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7982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intermédiai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8CF3039-FF3D-AAB7-A93F-69C62CAF3A8B}"/>
              </a:ext>
            </a:extLst>
          </p:cNvPr>
          <p:cNvSpPr/>
          <p:nvPr userDrawn="1"/>
        </p:nvSpPr>
        <p:spPr>
          <a:xfrm>
            <a:off x="0" y="4813303"/>
            <a:ext cx="12292014" cy="2044700"/>
          </a:xfrm>
          <a:prstGeom prst="rect">
            <a:avLst/>
          </a:prstGeom>
          <a:solidFill>
            <a:schemeClr val="accent3">
              <a:alpha val="20018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1AABD9DD-3804-4039-F124-74CC93BC0E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44876"/>
            <a:ext cx="10432496" cy="111600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001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sur </a:t>
            </a:r>
            <a:br>
              <a:rPr lang="fr-FR"/>
            </a:br>
            <a:r>
              <a:rPr lang="fr-FR"/>
              <a:t>deux lig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9E5CE64-E36C-379E-3590-FC7A02EF04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8" y="-20949"/>
            <a:ext cx="5545137" cy="3449949"/>
          </a:xfrm>
        </p:spPr>
        <p:txBody>
          <a:bodyPr>
            <a:noAutofit/>
          </a:bodyPr>
          <a:lstStyle>
            <a:lvl1pPr marL="12600" indent="0">
              <a:buNone/>
              <a:defRPr sz="24997" b="1" i="0">
                <a:ln w="25400">
                  <a:solidFill>
                    <a:schemeClr val="accent3"/>
                  </a:solidFill>
                </a:ln>
                <a:solidFill>
                  <a:schemeClr val="tx1"/>
                </a:solidFill>
                <a:latin typeface="Helvetica Neue Condensed" panose="02000503000000020004" pitchFamily="2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B810C8C-FEE4-0249-BF83-275A5F881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42361"/>
            <a:ext cx="12292014" cy="10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66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avec 2 colonnes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4C2B86-D765-F813-FDAD-00D336B313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67866" y="0"/>
            <a:ext cx="4824135" cy="6858000"/>
          </a:xfrm>
          <a:custGeom>
            <a:avLst/>
            <a:gdLst>
              <a:gd name="connsiteX0" fmla="*/ 31593 w 4824135"/>
              <a:gd name="connsiteY0" fmla="*/ 0 h 6858000"/>
              <a:gd name="connsiteX1" fmla="*/ 4824135 w 4824135"/>
              <a:gd name="connsiteY1" fmla="*/ 0 h 6858000"/>
              <a:gd name="connsiteX2" fmla="*/ 4824135 w 4824135"/>
              <a:gd name="connsiteY2" fmla="*/ 6858000 h 6858000"/>
              <a:gd name="connsiteX3" fmla="*/ 0 w 4824135"/>
              <a:gd name="connsiteY3" fmla="*/ 6858000 h 6858000"/>
              <a:gd name="connsiteX4" fmla="*/ 144109 w 4824135"/>
              <a:gd name="connsiteY4" fmla="*/ 6497701 h 6858000"/>
              <a:gd name="connsiteX5" fmla="*/ 607766 w 4824135"/>
              <a:gd name="connsiteY5" fmla="*/ 3673569 h 6858000"/>
              <a:gd name="connsiteX6" fmla="*/ 607766 w 4824135"/>
              <a:gd name="connsiteY6" fmla="*/ 3200752 h 6858000"/>
              <a:gd name="connsiteX7" fmla="*/ 31593 w 482413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24135" h="6858000">
                <a:moveTo>
                  <a:pt x="31593" y="0"/>
                </a:moveTo>
                <a:lnTo>
                  <a:pt x="4824135" y="0"/>
                </a:lnTo>
                <a:lnTo>
                  <a:pt x="4824135" y="6858000"/>
                </a:lnTo>
                <a:lnTo>
                  <a:pt x="0" y="6858000"/>
                </a:lnTo>
                <a:lnTo>
                  <a:pt x="144109" y="6497701"/>
                </a:lnTo>
                <a:cubicBezTo>
                  <a:pt x="457096" y="5642262"/>
                  <a:pt x="607766" y="4685797"/>
                  <a:pt x="607766" y="3673569"/>
                </a:cubicBezTo>
                <a:lnTo>
                  <a:pt x="607766" y="3200752"/>
                </a:lnTo>
                <a:cubicBezTo>
                  <a:pt x="607766" y="2014329"/>
                  <a:pt x="421059" y="931790"/>
                  <a:pt x="31593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7200000" cy="108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7702C9-0031-46C3-BA33-F53A2D990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444" y="1824421"/>
            <a:ext cx="288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A91761D4-8CB9-110E-94FC-08464B87C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95552" y="458684"/>
            <a:ext cx="159545" cy="159545"/>
          </a:xfrm>
          <a:custGeom>
            <a:avLst/>
            <a:gdLst>
              <a:gd name="connsiteX0" fmla="*/ 76495 w 159545"/>
              <a:gd name="connsiteY0" fmla="*/ 0 h 159545"/>
              <a:gd name="connsiteX1" fmla="*/ 82910 w 159545"/>
              <a:gd name="connsiteY1" fmla="*/ 0 h 159545"/>
              <a:gd name="connsiteX2" fmla="*/ 159545 w 159545"/>
              <a:gd name="connsiteY2" fmla="*/ 76564 h 159545"/>
              <a:gd name="connsiteX3" fmla="*/ 159545 w 159545"/>
              <a:gd name="connsiteY3" fmla="*/ 82980 h 159545"/>
              <a:gd name="connsiteX4" fmla="*/ 82980 w 159545"/>
              <a:gd name="connsiteY4" fmla="*/ 159545 h 159545"/>
              <a:gd name="connsiteX5" fmla="*/ 76564 w 159545"/>
              <a:gd name="connsiteY5" fmla="*/ 159545 h 159545"/>
              <a:gd name="connsiteX6" fmla="*/ 0 w 159545"/>
              <a:gd name="connsiteY6" fmla="*/ 82980 h 159545"/>
              <a:gd name="connsiteX7" fmla="*/ 0 w 159545"/>
              <a:gd name="connsiteY7" fmla="*/ 76564 h 159545"/>
              <a:gd name="connsiteX8" fmla="*/ 76495 w 159545"/>
              <a:gd name="connsiteY8" fmla="*/ 0 h 1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545" h="159545">
                <a:moveTo>
                  <a:pt x="76495" y="0"/>
                </a:moveTo>
                <a:lnTo>
                  <a:pt x="82910" y="0"/>
                </a:lnTo>
                <a:cubicBezTo>
                  <a:pt x="132210" y="0"/>
                  <a:pt x="159475" y="27196"/>
                  <a:pt x="159545" y="76564"/>
                </a:cubicBezTo>
                <a:lnTo>
                  <a:pt x="159545" y="82980"/>
                </a:lnTo>
                <a:cubicBezTo>
                  <a:pt x="159545" y="132350"/>
                  <a:pt x="132280" y="159545"/>
                  <a:pt x="82980" y="159545"/>
                </a:cubicBezTo>
                <a:lnTo>
                  <a:pt x="76564" y="159545"/>
                </a:lnTo>
                <a:cubicBezTo>
                  <a:pt x="27195" y="159545"/>
                  <a:pt x="0" y="132280"/>
                  <a:pt x="0" y="82980"/>
                </a:cubicBezTo>
                <a:lnTo>
                  <a:pt x="0" y="76564"/>
                </a:lnTo>
                <a:cubicBezTo>
                  <a:pt x="0" y="27196"/>
                  <a:pt x="27195" y="0"/>
                  <a:pt x="7649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67855D6D-7F60-670C-4037-A90D52FCC7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468502" y="1824421"/>
            <a:ext cx="288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7195A3-8154-6E4D-C5C6-8BB95BE0E6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01969" y="5578542"/>
            <a:ext cx="146710" cy="813630"/>
          </a:xfrm>
          <a:custGeom>
            <a:avLst/>
            <a:gdLst>
              <a:gd name="connsiteX0" fmla="*/ 73976 w 146710"/>
              <a:gd name="connsiteY0" fmla="*/ 665717 h 813630"/>
              <a:gd name="connsiteX1" fmla="*/ 142044 w 146710"/>
              <a:gd name="connsiteY1" fmla="*/ 665717 h 813630"/>
              <a:gd name="connsiteX2" fmla="*/ 146694 w 146710"/>
              <a:gd name="connsiteY2" fmla="*/ 687332 h 813630"/>
              <a:gd name="connsiteX3" fmla="*/ 146694 w 146710"/>
              <a:gd name="connsiteY3" fmla="*/ 690313 h 813630"/>
              <a:gd name="connsiteX4" fmla="*/ 142054 w 146710"/>
              <a:gd name="connsiteY4" fmla="*/ 712506 h 813630"/>
              <a:gd name="connsiteX5" fmla="*/ 72524 w 146710"/>
              <a:gd name="connsiteY5" fmla="*/ 712506 h 813630"/>
              <a:gd name="connsiteX6" fmla="*/ 54682 w 146710"/>
              <a:gd name="connsiteY6" fmla="*/ 717549 h 813630"/>
              <a:gd name="connsiteX7" fmla="*/ 43704 w 146710"/>
              <a:gd name="connsiteY7" fmla="*/ 736077 h 813630"/>
              <a:gd name="connsiteX8" fmla="*/ 49110 w 146710"/>
              <a:gd name="connsiteY8" fmla="*/ 756419 h 813630"/>
              <a:gd name="connsiteX9" fmla="*/ 72526 w 146710"/>
              <a:gd name="connsiteY9" fmla="*/ 766914 h 813630"/>
              <a:gd name="connsiteX10" fmla="*/ 142070 w 146710"/>
              <a:gd name="connsiteY10" fmla="*/ 766914 h 813630"/>
              <a:gd name="connsiteX11" fmla="*/ 146694 w 146710"/>
              <a:gd name="connsiteY11" fmla="*/ 788484 h 813630"/>
              <a:gd name="connsiteX12" fmla="*/ 146694 w 146710"/>
              <a:gd name="connsiteY12" fmla="*/ 791465 h 813630"/>
              <a:gd name="connsiteX13" fmla="*/ 142048 w 146710"/>
              <a:gd name="connsiteY13" fmla="*/ 813630 h 813630"/>
              <a:gd name="connsiteX14" fmla="*/ 7152 w 146710"/>
              <a:gd name="connsiteY14" fmla="*/ 813630 h 813630"/>
              <a:gd name="connsiteX15" fmla="*/ 2502 w 146710"/>
              <a:gd name="connsiteY15" fmla="*/ 792058 h 813630"/>
              <a:gd name="connsiteX16" fmla="*/ 2502 w 146710"/>
              <a:gd name="connsiteY16" fmla="*/ 789082 h 813630"/>
              <a:gd name="connsiteX17" fmla="*/ 7152 w 146710"/>
              <a:gd name="connsiteY17" fmla="*/ 769096 h 813630"/>
              <a:gd name="connsiteX18" fmla="*/ 0 w 146710"/>
              <a:gd name="connsiteY18" fmla="*/ 739697 h 813630"/>
              <a:gd name="connsiteX19" fmla="*/ 19462 w 146710"/>
              <a:gd name="connsiteY19" fmla="*/ 686394 h 813630"/>
              <a:gd name="connsiteX20" fmla="*/ 73976 w 146710"/>
              <a:gd name="connsiteY20" fmla="*/ 665717 h 813630"/>
              <a:gd name="connsiteX21" fmla="*/ 56758 w 146710"/>
              <a:gd name="connsiteY21" fmla="*/ 549329 h 813630"/>
              <a:gd name="connsiteX22" fmla="*/ 55556 w 146710"/>
              <a:gd name="connsiteY22" fmla="*/ 549652 h 813630"/>
              <a:gd name="connsiteX23" fmla="*/ 34850 w 146710"/>
              <a:gd name="connsiteY23" fmla="*/ 575028 h 813630"/>
              <a:gd name="connsiteX24" fmla="*/ 34852 w 146710"/>
              <a:gd name="connsiteY24" fmla="*/ 575028 h 813630"/>
              <a:gd name="connsiteX25" fmla="*/ 55522 w 146710"/>
              <a:gd name="connsiteY25" fmla="*/ 599812 h 813630"/>
              <a:gd name="connsiteX26" fmla="*/ 56758 w 146710"/>
              <a:gd name="connsiteY26" fmla="*/ 600193 h 813630"/>
              <a:gd name="connsiteX27" fmla="*/ 76756 w 146710"/>
              <a:gd name="connsiteY27" fmla="*/ 502939 h 813630"/>
              <a:gd name="connsiteX28" fmla="*/ 86036 w 146710"/>
              <a:gd name="connsiteY28" fmla="*/ 503143 h 813630"/>
              <a:gd name="connsiteX29" fmla="*/ 86036 w 146710"/>
              <a:gd name="connsiteY29" fmla="*/ 600731 h 813630"/>
              <a:gd name="connsiteX30" fmla="*/ 87226 w 146710"/>
              <a:gd name="connsiteY30" fmla="*/ 600426 h 813630"/>
              <a:gd name="connsiteX31" fmla="*/ 111314 w 146710"/>
              <a:gd name="connsiteY31" fmla="*/ 568044 h 813630"/>
              <a:gd name="connsiteX32" fmla="*/ 96968 w 146710"/>
              <a:gd name="connsiteY32" fmla="*/ 535497 h 813630"/>
              <a:gd name="connsiteX33" fmla="*/ 104390 w 146710"/>
              <a:gd name="connsiteY33" fmla="*/ 520952 h 813630"/>
              <a:gd name="connsiteX34" fmla="*/ 105786 w 146710"/>
              <a:gd name="connsiteY34" fmla="*/ 519226 h 813630"/>
              <a:gd name="connsiteX35" fmla="*/ 118614 w 146710"/>
              <a:gd name="connsiteY35" fmla="*/ 508730 h 813630"/>
              <a:gd name="connsiteX36" fmla="*/ 146670 w 146710"/>
              <a:gd name="connsiteY36" fmla="*/ 570459 h 813630"/>
              <a:gd name="connsiteX37" fmla="*/ 146672 w 146710"/>
              <a:gd name="connsiteY37" fmla="*/ 570459 h 813630"/>
              <a:gd name="connsiteX38" fmla="*/ 73870 w 146710"/>
              <a:gd name="connsiteY38" fmla="*/ 647384 h 813630"/>
              <a:gd name="connsiteX39" fmla="*/ 73344 w 146710"/>
              <a:gd name="connsiteY39" fmla="*/ 647384 h 813630"/>
              <a:gd name="connsiteX40" fmla="*/ 18 w 146710"/>
              <a:gd name="connsiteY40" fmla="*/ 575028 h 813630"/>
              <a:gd name="connsiteX41" fmla="*/ 22866 w 146710"/>
              <a:gd name="connsiteY41" fmla="*/ 520512 h 813630"/>
              <a:gd name="connsiteX42" fmla="*/ 76756 w 146710"/>
              <a:gd name="connsiteY42" fmla="*/ 502939 h 813630"/>
              <a:gd name="connsiteX43" fmla="*/ 146710 w 146710"/>
              <a:gd name="connsiteY43" fmla="*/ 457539 h 813630"/>
              <a:gd name="connsiteX44" fmla="*/ 146710 w 146710"/>
              <a:gd name="connsiteY44" fmla="*/ 457541 h 813630"/>
              <a:gd name="connsiteX45" fmla="*/ 146708 w 146710"/>
              <a:gd name="connsiteY45" fmla="*/ 457540 h 813630"/>
              <a:gd name="connsiteX46" fmla="*/ 113678 w 146710"/>
              <a:gd name="connsiteY46" fmla="*/ 343882 h 813630"/>
              <a:gd name="connsiteX47" fmla="*/ 132216 w 146710"/>
              <a:gd name="connsiteY47" fmla="*/ 355848 h 813630"/>
              <a:gd name="connsiteX48" fmla="*/ 134320 w 146710"/>
              <a:gd name="connsiteY48" fmla="*/ 357951 h 813630"/>
              <a:gd name="connsiteX49" fmla="*/ 146704 w 146710"/>
              <a:gd name="connsiteY49" fmla="*/ 376907 h 813630"/>
              <a:gd name="connsiteX50" fmla="*/ 106460 w 146710"/>
              <a:gd name="connsiteY50" fmla="*/ 417225 h 813630"/>
              <a:gd name="connsiteX51" fmla="*/ 146708 w 146710"/>
              <a:gd name="connsiteY51" fmla="*/ 457540 h 813630"/>
              <a:gd name="connsiteX52" fmla="*/ 134744 w 146710"/>
              <a:gd name="connsiteY52" fmla="*/ 476076 h 813630"/>
              <a:gd name="connsiteX53" fmla="*/ 132640 w 146710"/>
              <a:gd name="connsiteY53" fmla="*/ 478179 h 813630"/>
              <a:gd name="connsiteX54" fmla="*/ 113682 w 146710"/>
              <a:gd name="connsiteY54" fmla="*/ 490566 h 813630"/>
              <a:gd name="connsiteX55" fmla="*/ 82780 w 146710"/>
              <a:gd name="connsiteY55" fmla="*/ 459233 h 813630"/>
              <a:gd name="connsiteX56" fmla="*/ 63944 w 146710"/>
              <a:gd name="connsiteY56" fmla="*/ 459233 h 813630"/>
              <a:gd name="connsiteX57" fmla="*/ 33050 w 146710"/>
              <a:gd name="connsiteY57" fmla="*/ 490564 h 813630"/>
              <a:gd name="connsiteX58" fmla="*/ 14512 w 146710"/>
              <a:gd name="connsiteY58" fmla="*/ 478604 h 813630"/>
              <a:gd name="connsiteX59" fmla="*/ 12408 w 146710"/>
              <a:gd name="connsiteY59" fmla="*/ 476501 h 813630"/>
              <a:gd name="connsiteX60" fmla="*/ 24 w 146710"/>
              <a:gd name="connsiteY60" fmla="*/ 457542 h 813630"/>
              <a:gd name="connsiteX61" fmla="*/ 40268 w 146710"/>
              <a:gd name="connsiteY61" fmla="*/ 417225 h 813630"/>
              <a:gd name="connsiteX62" fmla="*/ 18 w 146710"/>
              <a:gd name="connsiteY62" fmla="*/ 376905 h 813630"/>
              <a:gd name="connsiteX63" fmla="*/ 11984 w 146710"/>
              <a:gd name="connsiteY63" fmla="*/ 358373 h 813630"/>
              <a:gd name="connsiteX64" fmla="*/ 14088 w 146710"/>
              <a:gd name="connsiteY64" fmla="*/ 356270 h 813630"/>
              <a:gd name="connsiteX65" fmla="*/ 33046 w 146710"/>
              <a:gd name="connsiteY65" fmla="*/ 343885 h 813630"/>
              <a:gd name="connsiteX66" fmla="*/ 63946 w 146710"/>
              <a:gd name="connsiteY66" fmla="*/ 375237 h 813630"/>
              <a:gd name="connsiteX67" fmla="*/ 82780 w 146710"/>
              <a:gd name="connsiteY67" fmla="*/ 375237 h 813630"/>
              <a:gd name="connsiteX68" fmla="*/ 4666 w 146710"/>
              <a:gd name="connsiteY68" fmla="*/ 272842 h 813630"/>
              <a:gd name="connsiteX69" fmla="*/ 142046 w 146710"/>
              <a:gd name="connsiteY69" fmla="*/ 272842 h 813630"/>
              <a:gd name="connsiteX70" fmla="*/ 146694 w 146710"/>
              <a:gd name="connsiteY70" fmla="*/ 294453 h 813630"/>
              <a:gd name="connsiteX71" fmla="*/ 146694 w 146710"/>
              <a:gd name="connsiteY71" fmla="*/ 297433 h 813630"/>
              <a:gd name="connsiteX72" fmla="*/ 146696 w 146710"/>
              <a:gd name="connsiteY72" fmla="*/ 297433 h 813630"/>
              <a:gd name="connsiteX73" fmla="*/ 142048 w 146710"/>
              <a:gd name="connsiteY73" fmla="*/ 319641 h 813630"/>
              <a:gd name="connsiteX74" fmla="*/ 4666 w 146710"/>
              <a:gd name="connsiteY74" fmla="*/ 319641 h 813630"/>
              <a:gd name="connsiteX75" fmla="*/ 18 w 146710"/>
              <a:gd name="connsiteY75" fmla="*/ 298030 h 813630"/>
              <a:gd name="connsiteX76" fmla="*/ 18 w 146710"/>
              <a:gd name="connsiteY76" fmla="*/ 295050 h 813630"/>
              <a:gd name="connsiteX77" fmla="*/ 4666 w 146710"/>
              <a:gd name="connsiteY77" fmla="*/ 272842 h 813630"/>
              <a:gd name="connsiteX78" fmla="*/ 121584 w 146710"/>
              <a:gd name="connsiteY78" fmla="*/ 140251 h 813630"/>
              <a:gd name="connsiteX79" fmla="*/ 124554 w 146710"/>
              <a:gd name="connsiteY79" fmla="*/ 140251 h 813630"/>
              <a:gd name="connsiteX80" fmla="*/ 146706 w 146710"/>
              <a:gd name="connsiteY80" fmla="*/ 144886 h 813630"/>
              <a:gd name="connsiteX81" fmla="*/ 146706 w 146710"/>
              <a:gd name="connsiteY81" fmla="*/ 179666 h 813630"/>
              <a:gd name="connsiteX82" fmla="*/ 82882 w 146710"/>
              <a:gd name="connsiteY82" fmla="*/ 244561 h 813630"/>
              <a:gd name="connsiteX83" fmla="*/ 4688 w 146710"/>
              <a:gd name="connsiteY83" fmla="*/ 244561 h 813630"/>
              <a:gd name="connsiteX84" fmla="*/ 52 w 146710"/>
              <a:gd name="connsiteY84" fmla="*/ 223006 h 813630"/>
              <a:gd name="connsiteX85" fmla="*/ 52 w 146710"/>
              <a:gd name="connsiteY85" fmla="*/ 220034 h 813630"/>
              <a:gd name="connsiteX86" fmla="*/ 4688 w 146710"/>
              <a:gd name="connsiteY86" fmla="*/ 197884 h 813630"/>
              <a:gd name="connsiteX87" fmla="*/ 23344 w 146710"/>
              <a:gd name="connsiteY87" fmla="*/ 197884 h 813630"/>
              <a:gd name="connsiteX88" fmla="*/ 23344 w 146710"/>
              <a:gd name="connsiteY88" fmla="*/ 164961 h 813630"/>
              <a:gd name="connsiteX89" fmla="*/ 44900 w 146710"/>
              <a:gd name="connsiteY89" fmla="*/ 160325 h 813630"/>
              <a:gd name="connsiteX90" fmla="*/ 47872 w 146710"/>
              <a:gd name="connsiteY90" fmla="*/ 160325 h 813630"/>
              <a:gd name="connsiteX91" fmla="*/ 70024 w 146710"/>
              <a:gd name="connsiteY91" fmla="*/ 164962 h 813630"/>
              <a:gd name="connsiteX92" fmla="*/ 70024 w 146710"/>
              <a:gd name="connsiteY92" fmla="*/ 197886 h 813630"/>
              <a:gd name="connsiteX93" fmla="*/ 81812 w 146710"/>
              <a:gd name="connsiteY93" fmla="*/ 197886 h 813630"/>
              <a:gd name="connsiteX94" fmla="*/ 100028 w 146710"/>
              <a:gd name="connsiteY94" fmla="*/ 179670 h 813630"/>
              <a:gd name="connsiteX95" fmla="*/ 100028 w 146710"/>
              <a:gd name="connsiteY95" fmla="*/ 144886 h 813630"/>
              <a:gd name="connsiteX96" fmla="*/ 121584 w 146710"/>
              <a:gd name="connsiteY96" fmla="*/ 140251 h 813630"/>
              <a:gd name="connsiteX97" fmla="*/ 33098 w 146710"/>
              <a:gd name="connsiteY97" fmla="*/ 0 h 813630"/>
              <a:gd name="connsiteX98" fmla="*/ 74608 w 146710"/>
              <a:gd name="connsiteY98" fmla="*/ 41508 h 813630"/>
              <a:gd name="connsiteX99" fmla="*/ 94970 w 146710"/>
              <a:gd name="connsiteY99" fmla="*/ 49943 h 813630"/>
              <a:gd name="connsiteX100" fmla="*/ 142046 w 146710"/>
              <a:gd name="connsiteY100" fmla="*/ 49943 h 813630"/>
              <a:gd name="connsiteX101" fmla="*/ 146692 w 146710"/>
              <a:gd name="connsiteY101" fmla="*/ 71547 h 813630"/>
              <a:gd name="connsiteX102" fmla="*/ 146692 w 146710"/>
              <a:gd name="connsiteY102" fmla="*/ 74526 h 813630"/>
              <a:gd name="connsiteX103" fmla="*/ 146694 w 146710"/>
              <a:gd name="connsiteY103" fmla="*/ 74526 h 813630"/>
              <a:gd name="connsiteX104" fmla="*/ 142048 w 146710"/>
              <a:gd name="connsiteY104" fmla="*/ 96728 h 813630"/>
              <a:gd name="connsiteX105" fmla="*/ 94974 w 146710"/>
              <a:gd name="connsiteY105" fmla="*/ 96728 h 813630"/>
              <a:gd name="connsiteX106" fmla="*/ 74610 w 146710"/>
              <a:gd name="connsiteY106" fmla="*/ 105164 h 813630"/>
              <a:gd name="connsiteX107" fmla="*/ 33102 w 146710"/>
              <a:gd name="connsiteY107" fmla="*/ 146674 h 813630"/>
              <a:gd name="connsiteX108" fmla="*/ 14520 w 146710"/>
              <a:gd name="connsiteY108" fmla="*/ 134696 h 813630"/>
              <a:gd name="connsiteX109" fmla="*/ 12420 w 146710"/>
              <a:gd name="connsiteY109" fmla="*/ 132593 h 813630"/>
              <a:gd name="connsiteX110" fmla="*/ 20 w 146710"/>
              <a:gd name="connsiteY110" fmla="*/ 113590 h 813630"/>
              <a:gd name="connsiteX111" fmla="*/ 40272 w 146710"/>
              <a:gd name="connsiteY111" fmla="*/ 73336 h 813630"/>
              <a:gd name="connsiteX112" fmla="*/ 16 w 146710"/>
              <a:gd name="connsiteY112" fmla="*/ 33082 h 813630"/>
              <a:gd name="connsiteX113" fmla="*/ 11994 w 146710"/>
              <a:gd name="connsiteY113" fmla="*/ 14502 h 813630"/>
              <a:gd name="connsiteX114" fmla="*/ 14094 w 146710"/>
              <a:gd name="connsiteY114" fmla="*/ 12399 h 813630"/>
              <a:gd name="connsiteX115" fmla="*/ 33098 w 146710"/>
              <a:gd name="connsiteY115" fmla="*/ 0 h 8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46710" h="813630">
                <a:moveTo>
                  <a:pt x="73976" y="665717"/>
                </a:moveTo>
                <a:lnTo>
                  <a:pt x="142044" y="665717"/>
                </a:lnTo>
                <a:cubicBezTo>
                  <a:pt x="145128" y="671840"/>
                  <a:pt x="146694" y="679110"/>
                  <a:pt x="146694" y="687332"/>
                </a:cubicBezTo>
                <a:lnTo>
                  <a:pt x="146694" y="690313"/>
                </a:lnTo>
                <a:cubicBezTo>
                  <a:pt x="146694" y="698912"/>
                  <a:pt x="145132" y="706375"/>
                  <a:pt x="142054" y="712506"/>
                </a:cubicBezTo>
                <a:cubicBezTo>
                  <a:pt x="119782" y="712486"/>
                  <a:pt x="94848" y="712508"/>
                  <a:pt x="72524" y="712506"/>
                </a:cubicBezTo>
                <a:cubicBezTo>
                  <a:pt x="66096" y="712506"/>
                  <a:pt x="60038" y="713826"/>
                  <a:pt x="54682" y="717549"/>
                </a:cubicBezTo>
                <a:cubicBezTo>
                  <a:pt x="48218" y="722045"/>
                  <a:pt x="44586" y="728268"/>
                  <a:pt x="43704" y="736077"/>
                </a:cubicBezTo>
                <a:cubicBezTo>
                  <a:pt x="42862" y="743553"/>
                  <a:pt x="44456" y="750426"/>
                  <a:pt x="49110" y="756419"/>
                </a:cubicBezTo>
                <a:cubicBezTo>
                  <a:pt x="55128" y="764169"/>
                  <a:pt x="63476" y="766898"/>
                  <a:pt x="72526" y="766914"/>
                </a:cubicBezTo>
                <a:cubicBezTo>
                  <a:pt x="94678" y="766950"/>
                  <a:pt x="119964" y="766943"/>
                  <a:pt x="142070" y="766914"/>
                </a:cubicBezTo>
                <a:cubicBezTo>
                  <a:pt x="145138" y="773028"/>
                  <a:pt x="146694" y="780282"/>
                  <a:pt x="146694" y="788484"/>
                </a:cubicBezTo>
                <a:lnTo>
                  <a:pt x="146694" y="791465"/>
                </a:lnTo>
                <a:cubicBezTo>
                  <a:pt x="146694" y="800070"/>
                  <a:pt x="145132" y="807493"/>
                  <a:pt x="142048" y="813630"/>
                </a:cubicBezTo>
                <a:lnTo>
                  <a:pt x="7152" y="813630"/>
                </a:lnTo>
                <a:cubicBezTo>
                  <a:pt x="4066" y="807516"/>
                  <a:pt x="2504" y="800263"/>
                  <a:pt x="2502" y="792058"/>
                </a:cubicBezTo>
                <a:lnTo>
                  <a:pt x="2502" y="789082"/>
                </a:lnTo>
                <a:cubicBezTo>
                  <a:pt x="2502" y="777950"/>
                  <a:pt x="7152" y="769096"/>
                  <a:pt x="7152" y="769096"/>
                </a:cubicBezTo>
                <a:cubicBezTo>
                  <a:pt x="3196" y="759880"/>
                  <a:pt x="0" y="749781"/>
                  <a:pt x="0" y="739697"/>
                </a:cubicBezTo>
                <a:cubicBezTo>
                  <a:pt x="0" y="719661"/>
                  <a:pt x="4486" y="701674"/>
                  <a:pt x="19462" y="686394"/>
                </a:cubicBezTo>
                <a:cubicBezTo>
                  <a:pt x="32742" y="672849"/>
                  <a:pt x="53578" y="666162"/>
                  <a:pt x="73976" y="665717"/>
                </a:cubicBezTo>
                <a:close/>
                <a:moveTo>
                  <a:pt x="56758" y="549329"/>
                </a:moveTo>
                <a:lnTo>
                  <a:pt x="55556" y="549652"/>
                </a:lnTo>
                <a:cubicBezTo>
                  <a:pt x="42590" y="553130"/>
                  <a:pt x="34850" y="562617"/>
                  <a:pt x="34850" y="575028"/>
                </a:cubicBezTo>
                <a:lnTo>
                  <a:pt x="34852" y="575028"/>
                </a:lnTo>
                <a:cubicBezTo>
                  <a:pt x="34852" y="586897"/>
                  <a:pt x="42192" y="595699"/>
                  <a:pt x="55522" y="599812"/>
                </a:cubicBezTo>
                <a:lnTo>
                  <a:pt x="56758" y="600193"/>
                </a:lnTo>
                <a:close/>
                <a:moveTo>
                  <a:pt x="76756" y="502939"/>
                </a:moveTo>
                <a:cubicBezTo>
                  <a:pt x="79662" y="502939"/>
                  <a:pt x="82922" y="502939"/>
                  <a:pt x="86036" y="503143"/>
                </a:cubicBezTo>
                <a:lnTo>
                  <a:pt x="86036" y="600731"/>
                </a:lnTo>
                <a:lnTo>
                  <a:pt x="87226" y="600426"/>
                </a:lnTo>
                <a:cubicBezTo>
                  <a:pt x="102984" y="596394"/>
                  <a:pt x="111314" y="585196"/>
                  <a:pt x="111314" y="568044"/>
                </a:cubicBezTo>
                <a:cubicBezTo>
                  <a:pt x="111314" y="555504"/>
                  <a:pt x="107150" y="546041"/>
                  <a:pt x="96968" y="535497"/>
                </a:cubicBezTo>
                <a:cubicBezTo>
                  <a:pt x="98090" y="530544"/>
                  <a:pt x="100586" y="525653"/>
                  <a:pt x="104390" y="520952"/>
                </a:cubicBezTo>
                <a:lnTo>
                  <a:pt x="105786" y="519226"/>
                </a:lnTo>
                <a:cubicBezTo>
                  <a:pt x="109760" y="514320"/>
                  <a:pt x="114072" y="510792"/>
                  <a:pt x="118614" y="508730"/>
                </a:cubicBezTo>
                <a:cubicBezTo>
                  <a:pt x="137492" y="523924"/>
                  <a:pt x="146670" y="544123"/>
                  <a:pt x="146670" y="570459"/>
                </a:cubicBezTo>
                <a:lnTo>
                  <a:pt x="146672" y="570459"/>
                </a:lnTo>
                <a:cubicBezTo>
                  <a:pt x="146672" y="615751"/>
                  <a:pt x="116736" y="647384"/>
                  <a:pt x="73870" y="647384"/>
                </a:cubicBezTo>
                <a:lnTo>
                  <a:pt x="73344" y="647384"/>
                </a:lnTo>
                <a:cubicBezTo>
                  <a:pt x="31542" y="647384"/>
                  <a:pt x="18" y="616277"/>
                  <a:pt x="18" y="575028"/>
                </a:cubicBezTo>
                <a:cubicBezTo>
                  <a:pt x="18" y="552012"/>
                  <a:pt x="7916" y="533161"/>
                  <a:pt x="22866" y="520512"/>
                </a:cubicBezTo>
                <a:cubicBezTo>
                  <a:pt x="36452" y="509015"/>
                  <a:pt x="55088" y="502939"/>
                  <a:pt x="76756" y="502939"/>
                </a:cubicBezTo>
                <a:close/>
                <a:moveTo>
                  <a:pt x="146710" y="457539"/>
                </a:moveTo>
                <a:lnTo>
                  <a:pt x="146710" y="457541"/>
                </a:lnTo>
                <a:lnTo>
                  <a:pt x="146708" y="457540"/>
                </a:lnTo>
                <a:close/>
                <a:moveTo>
                  <a:pt x="113678" y="343882"/>
                </a:moveTo>
                <a:cubicBezTo>
                  <a:pt x="120178" y="346021"/>
                  <a:pt x="126412" y="350044"/>
                  <a:pt x="132216" y="355848"/>
                </a:cubicBezTo>
                <a:lnTo>
                  <a:pt x="134320" y="357951"/>
                </a:lnTo>
                <a:cubicBezTo>
                  <a:pt x="140390" y="364020"/>
                  <a:pt x="144554" y="370394"/>
                  <a:pt x="146704" y="376907"/>
                </a:cubicBezTo>
                <a:lnTo>
                  <a:pt x="106460" y="417225"/>
                </a:lnTo>
                <a:lnTo>
                  <a:pt x="146708" y="457540"/>
                </a:lnTo>
                <a:lnTo>
                  <a:pt x="134744" y="476076"/>
                </a:lnTo>
                <a:lnTo>
                  <a:pt x="132640" y="478179"/>
                </a:lnTo>
                <a:cubicBezTo>
                  <a:pt x="126568" y="484252"/>
                  <a:pt x="120194" y="488416"/>
                  <a:pt x="113682" y="490566"/>
                </a:cubicBezTo>
                <a:lnTo>
                  <a:pt x="82780" y="459233"/>
                </a:lnTo>
                <a:cubicBezTo>
                  <a:pt x="77578" y="454039"/>
                  <a:pt x="69146" y="454039"/>
                  <a:pt x="63944" y="459233"/>
                </a:cubicBezTo>
                <a:lnTo>
                  <a:pt x="33050" y="490564"/>
                </a:lnTo>
                <a:cubicBezTo>
                  <a:pt x="26550" y="488425"/>
                  <a:pt x="20316" y="484405"/>
                  <a:pt x="14512" y="478604"/>
                </a:cubicBezTo>
                <a:lnTo>
                  <a:pt x="12408" y="476501"/>
                </a:lnTo>
                <a:cubicBezTo>
                  <a:pt x="6336" y="470428"/>
                  <a:pt x="2170" y="464053"/>
                  <a:pt x="24" y="457542"/>
                </a:cubicBezTo>
                <a:lnTo>
                  <a:pt x="40268" y="417225"/>
                </a:lnTo>
                <a:lnTo>
                  <a:pt x="18" y="376905"/>
                </a:lnTo>
                <a:cubicBezTo>
                  <a:pt x="2156" y="370405"/>
                  <a:pt x="6180" y="364177"/>
                  <a:pt x="11984" y="358373"/>
                </a:cubicBezTo>
                <a:lnTo>
                  <a:pt x="14088" y="356270"/>
                </a:lnTo>
                <a:cubicBezTo>
                  <a:pt x="20160" y="350198"/>
                  <a:pt x="26534" y="346033"/>
                  <a:pt x="33046" y="343885"/>
                </a:cubicBezTo>
                <a:lnTo>
                  <a:pt x="63946" y="375237"/>
                </a:lnTo>
                <a:cubicBezTo>
                  <a:pt x="69148" y="380432"/>
                  <a:pt x="77578" y="380432"/>
                  <a:pt x="82780" y="375237"/>
                </a:cubicBezTo>
                <a:close/>
                <a:moveTo>
                  <a:pt x="4666" y="272842"/>
                </a:moveTo>
                <a:lnTo>
                  <a:pt x="142046" y="272842"/>
                </a:lnTo>
                <a:cubicBezTo>
                  <a:pt x="145130" y="278963"/>
                  <a:pt x="146694" y="286231"/>
                  <a:pt x="146694" y="294453"/>
                </a:cubicBezTo>
                <a:lnTo>
                  <a:pt x="146694" y="297433"/>
                </a:lnTo>
                <a:lnTo>
                  <a:pt x="146696" y="297433"/>
                </a:lnTo>
                <a:cubicBezTo>
                  <a:pt x="146696" y="306036"/>
                  <a:pt x="145132" y="313503"/>
                  <a:pt x="142048" y="319641"/>
                </a:cubicBezTo>
                <a:lnTo>
                  <a:pt x="4666" y="319641"/>
                </a:lnTo>
                <a:cubicBezTo>
                  <a:pt x="1584" y="313520"/>
                  <a:pt x="18" y="306252"/>
                  <a:pt x="18" y="298030"/>
                </a:cubicBezTo>
                <a:lnTo>
                  <a:pt x="18" y="295050"/>
                </a:lnTo>
                <a:cubicBezTo>
                  <a:pt x="18" y="286445"/>
                  <a:pt x="1582" y="278976"/>
                  <a:pt x="4666" y="272842"/>
                </a:cubicBezTo>
                <a:close/>
                <a:moveTo>
                  <a:pt x="121584" y="140251"/>
                </a:moveTo>
                <a:lnTo>
                  <a:pt x="124554" y="140251"/>
                </a:lnTo>
                <a:cubicBezTo>
                  <a:pt x="133136" y="140251"/>
                  <a:pt x="140586" y="141810"/>
                  <a:pt x="146706" y="144886"/>
                </a:cubicBezTo>
                <a:lnTo>
                  <a:pt x="146706" y="179666"/>
                </a:lnTo>
                <a:cubicBezTo>
                  <a:pt x="146706" y="215157"/>
                  <a:pt x="117124" y="244561"/>
                  <a:pt x="82882" y="244561"/>
                </a:cubicBezTo>
                <a:lnTo>
                  <a:pt x="4688" y="244561"/>
                </a:lnTo>
                <a:cubicBezTo>
                  <a:pt x="1612" y="238454"/>
                  <a:pt x="52" y="231205"/>
                  <a:pt x="52" y="223006"/>
                </a:cubicBezTo>
                <a:lnTo>
                  <a:pt x="52" y="220034"/>
                </a:lnTo>
                <a:cubicBezTo>
                  <a:pt x="52" y="211453"/>
                  <a:pt x="1612" y="204004"/>
                  <a:pt x="4688" y="197884"/>
                </a:cubicBezTo>
                <a:lnTo>
                  <a:pt x="23344" y="197884"/>
                </a:lnTo>
                <a:lnTo>
                  <a:pt x="23344" y="164961"/>
                </a:lnTo>
                <a:cubicBezTo>
                  <a:pt x="29452" y="161885"/>
                  <a:pt x="36702" y="160325"/>
                  <a:pt x="44900" y="160325"/>
                </a:cubicBezTo>
                <a:lnTo>
                  <a:pt x="47872" y="160325"/>
                </a:lnTo>
                <a:cubicBezTo>
                  <a:pt x="56454" y="160325"/>
                  <a:pt x="63902" y="161885"/>
                  <a:pt x="70024" y="164962"/>
                </a:cubicBezTo>
                <a:lnTo>
                  <a:pt x="70024" y="197886"/>
                </a:lnTo>
                <a:lnTo>
                  <a:pt x="81812" y="197886"/>
                </a:lnTo>
                <a:cubicBezTo>
                  <a:pt x="91856" y="197886"/>
                  <a:pt x="100028" y="189714"/>
                  <a:pt x="100028" y="179670"/>
                </a:cubicBezTo>
                <a:lnTo>
                  <a:pt x="100028" y="144886"/>
                </a:lnTo>
                <a:cubicBezTo>
                  <a:pt x="106136" y="141810"/>
                  <a:pt x="113382" y="140251"/>
                  <a:pt x="121584" y="140251"/>
                </a:cubicBezTo>
                <a:close/>
                <a:moveTo>
                  <a:pt x="33098" y="0"/>
                </a:moveTo>
                <a:lnTo>
                  <a:pt x="74608" y="41508"/>
                </a:lnTo>
                <a:cubicBezTo>
                  <a:pt x="80008" y="46908"/>
                  <a:pt x="87332" y="49943"/>
                  <a:pt x="94970" y="49943"/>
                </a:cubicBezTo>
                <a:lnTo>
                  <a:pt x="142046" y="49943"/>
                </a:lnTo>
                <a:cubicBezTo>
                  <a:pt x="145130" y="56062"/>
                  <a:pt x="146692" y="63328"/>
                  <a:pt x="146692" y="71547"/>
                </a:cubicBezTo>
                <a:lnTo>
                  <a:pt x="146692" y="74526"/>
                </a:lnTo>
                <a:lnTo>
                  <a:pt x="146694" y="74526"/>
                </a:lnTo>
                <a:cubicBezTo>
                  <a:pt x="146694" y="83128"/>
                  <a:pt x="145132" y="90595"/>
                  <a:pt x="142048" y="96728"/>
                </a:cubicBezTo>
                <a:lnTo>
                  <a:pt x="94974" y="96728"/>
                </a:lnTo>
                <a:cubicBezTo>
                  <a:pt x="87336" y="96728"/>
                  <a:pt x="80010" y="99763"/>
                  <a:pt x="74610" y="105164"/>
                </a:cubicBezTo>
                <a:lnTo>
                  <a:pt x="33102" y="146674"/>
                </a:lnTo>
                <a:cubicBezTo>
                  <a:pt x="26586" y="144540"/>
                  <a:pt x="20338" y="140512"/>
                  <a:pt x="14520" y="134696"/>
                </a:cubicBezTo>
                <a:lnTo>
                  <a:pt x="12420" y="132593"/>
                </a:lnTo>
                <a:cubicBezTo>
                  <a:pt x="6334" y="126507"/>
                  <a:pt x="2164" y="120115"/>
                  <a:pt x="20" y="113590"/>
                </a:cubicBezTo>
                <a:lnTo>
                  <a:pt x="40272" y="73336"/>
                </a:lnTo>
                <a:lnTo>
                  <a:pt x="16" y="33082"/>
                </a:lnTo>
                <a:cubicBezTo>
                  <a:pt x="2150" y="26566"/>
                  <a:pt x="6178" y="20318"/>
                  <a:pt x="11994" y="14502"/>
                </a:cubicBezTo>
                <a:lnTo>
                  <a:pt x="14094" y="12399"/>
                </a:lnTo>
                <a:cubicBezTo>
                  <a:pt x="20182" y="6312"/>
                  <a:pt x="26572" y="2144"/>
                  <a:pt x="3309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9244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avec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7200000" cy="108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7702C9-0031-46C3-BA33-F53A2D990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444" y="1824421"/>
            <a:ext cx="504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A91761D4-8CB9-110E-94FC-08464B87C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95552" y="458684"/>
            <a:ext cx="159545" cy="159545"/>
          </a:xfrm>
          <a:custGeom>
            <a:avLst/>
            <a:gdLst>
              <a:gd name="connsiteX0" fmla="*/ 76495 w 159545"/>
              <a:gd name="connsiteY0" fmla="*/ 0 h 159545"/>
              <a:gd name="connsiteX1" fmla="*/ 82910 w 159545"/>
              <a:gd name="connsiteY1" fmla="*/ 0 h 159545"/>
              <a:gd name="connsiteX2" fmla="*/ 159545 w 159545"/>
              <a:gd name="connsiteY2" fmla="*/ 76564 h 159545"/>
              <a:gd name="connsiteX3" fmla="*/ 159545 w 159545"/>
              <a:gd name="connsiteY3" fmla="*/ 82980 h 159545"/>
              <a:gd name="connsiteX4" fmla="*/ 82980 w 159545"/>
              <a:gd name="connsiteY4" fmla="*/ 159545 h 159545"/>
              <a:gd name="connsiteX5" fmla="*/ 76564 w 159545"/>
              <a:gd name="connsiteY5" fmla="*/ 159545 h 159545"/>
              <a:gd name="connsiteX6" fmla="*/ 0 w 159545"/>
              <a:gd name="connsiteY6" fmla="*/ 82980 h 159545"/>
              <a:gd name="connsiteX7" fmla="*/ 0 w 159545"/>
              <a:gd name="connsiteY7" fmla="*/ 76564 h 159545"/>
              <a:gd name="connsiteX8" fmla="*/ 76495 w 159545"/>
              <a:gd name="connsiteY8" fmla="*/ 0 h 1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545" h="159545">
                <a:moveTo>
                  <a:pt x="76495" y="0"/>
                </a:moveTo>
                <a:lnTo>
                  <a:pt x="82910" y="0"/>
                </a:lnTo>
                <a:cubicBezTo>
                  <a:pt x="132210" y="0"/>
                  <a:pt x="159475" y="27196"/>
                  <a:pt x="159545" y="76564"/>
                </a:cubicBezTo>
                <a:lnTo>
                  <a:pt x="159545" y="82980"/>
                </a:lnTo>
                <a:cubicBezTo>
                  <a:pt x="159545" y="132350"/>
                  <a:pt x="132280" y="159545"/>
                  <a:pt x="82980" y="159545"/>
                </a:cubicBezTo>
                <a:lnTo>
                  <a:pt x="76564" y="159545"/>
                </a:lnTo>
                <a:cubicBezTo>
                  <a:pt x="27195" y="159545"/>
                  <a:pt x="0" y="132280"/>
                  <a:pt x="0" y="82980"/>
                </a:cubicBezTo>
                <a:lnTo>
                  <a:pt x="0" y="76564"/>
                </a:lnTo>
                <a:cubicBezTo>
                  <a:pt x="0" y="27196"/>
                  <a:pt x="27195" y="0"/>
                  <a:pt x="7649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67855D6D-7F60-670C-4037-A90D52FCC7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625736" y="1824421"/>
            <a:ext cx="504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7195A3-8154-6E4D-C5C6-8BB95BE0E6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01969" y="5578542"/>
            <a:ext cx="146710" cy="813630"/>
          </a:xfrm>
          <a:custGeom>
            <a:avLst/>
            <a:gdLst>
              <a:gd name="connsiteX0" fmla="*/ 73976 w 146710"/>
              <a:gd name="connsiteY0" fmla="*/ 665717 h 813630"/>
              <a:gd name="connsiteX1" fmla="*/ 142044 w 146710"/>
              <a:gd name="connsiteY1" fmla="*/ 665717 h 813630"/>
              <a:gd name="connsiteX2" fmla="*/ 146694 w 146710"/>
              <a:gd name="connsiteY2" fmla="*/ 687332 h 813630"/>
              <a:gd name="connsiteX3" fmla="*/ 146694 w 146710"/>
              <a:gd name="connsiteY3" fmla="*/ 690313 h 813630"/>
              <a:gd name="connsiteX4" fmla="*/ 142054 w 146710"/>
              <a:gd name="connsiteY4" fmla="*/ 712506 h 813630"/>
              <a:gd name="connsiteX5" fmla="*/ 72524 w 146710"/>
              <a:gd name="connsiteY5" fmla="*/ 712506 h 813630"/>
              <a:gd name="connsiteX6" fmla="*/ 54682 w 146710"/>
              <a:gd name="connsiteY6" fmla="*/ 717549 h 813630"/>
              <a:gd name="connsiteX7" fmla="*/ 43704 w 146710"/>
              <a:gd name="connsiteY7" fmla="*/ 736077 h 813630"/>
              <a:gd name="connsiteX8" fmla="*/ 49110 w 146710"/>
              <a:gd name="connsiteY8" fmla="*/ 756419 h 813630"/>
              <a:gd name="connsiteX9" fmla="*/ 72526 w 146710"/>
              <a:gd name="connsiteY9" fmla="*/ 766914 h 813630"/>
              <a:gd name="connsiteX10" fmla="*/ 142070 w 146710"/>
              <a:gd name="connsiteY10" fmla="*/ 766914 h 813630"/>
              <a:gd name="connsiteX11" fmla="*/ 146694 w 146710"/>
              <a:gd name="connsiteY11" fmla="*/ 788484 h 813630"/>
              <a:gd name="connsiteX12" fmla="*/ 146694 w 146710"/>
              <a:gd name="connsiteY12" fmla="*/ 791465 h 813630"/>
              <a:gd name="connsiteX13" fmla="*/ 142048 w 146710"/>
              <a:gd name="connsiteY13" fmla="*/ 813630 h 813630"/>
              <a:gd name="connsiteX14" fmla="*/ 7152 w 146710"/>
              <a:gd name="connsiteY14" fmla="*/ 813630 h 813630"/>
              <a:gd name="connsiteX15" fmla="*/ 2502 w 146710"/>
              <a:gd name="connsiteY15" fmla="*/ 792058 h 813630"/>
              <a:gd name="connsiteX16" fmla="*/ 2502 w 146710"/>
              <a:gd name="connsiteY16" fmla="*/ 789082 h 813630"/>
              <a:gd name="connsiteX17" fmla="*/ 7152 w 146710"/>
              <a:gd name="connsiteY17" fmla="*/ 769096 h 813630"/>
              <a:gd name="connsiteX18" fmla="*/ 0 w 146710"/>
              <a:gd name="connsiteY18" fmla="*/ 739697 h 813630"/>
              <a:gd name="connsiteX19" fmla="*/ 19462 w 146710"/>
              <a:gd name="connsiteY19" fmla="*/ 686394 h 813630"/>
              <a:gd name="connsiteX20" fmla="*/ 73976 w 146710"/>
              <a:gd name="connsiteY20" fmla="*/ 665717 h 813630"/>
              <a:gd name="connsiteX21" fmla="*/ 56758 w 146710"/>
              <a:gd name="connsiteY21" fmla="*/ 549329 h 813630"/>
              <a:gd name="connsiteX22" fmla="*/ 55556 w 146710"/>
              <a:gd name="connsiteY22" fmla="*/ 549652 h 813630"/>
              <a:gd name="connsiteX23" fmla="*/ 34850 w 146710"/>
              <a:gd name="connsiteY23" fmla="*/ 575028 h 813630"/>
              <a:gd name="connsiteX24" fmla="*/ 34852 w 146710"/>
              <a:gd name="connsiteY24" fmla="*/ 575028 h 813630"/>
              <a:gd name="connsiteX25" fmla="*/ 55522 w 146710"/>
              <a:gd name="connsiteY25" fmla="*/ 599812 h 813630"/>
              <a:gd name="connsiteX26" fmla="*/ 56758 w 146710"/>
              <a:gd name="connsiteY26" fmla="*/ 600193 h 813630"/>
              <a:gd name="connsiteX27" fmla="*/ 76756 w 146710"/>
              <a:gd name="connsiteY27" fmla="*/ 502939 h 813630"/>
              <a:gd name="connsiteX28" fmla="*/ 86036 w 146710"/>
              <a:gd name="connsiteY28" fmla="*/ 503143 h 813630"/>
              <a:gd name="connsiteX29" fmla="*/ 86036 w 146710"/>
              <a:gd name="connsiteY29" fmla="*/ 600731 h 813630"/>
              <a:gd name="connsiteX30" fmla="*/ 87226 w 146710"/>
              <a:gd name="connsiteY30" fmla="*/ 600426 h 813630"/>
              <a:gd name="connsiteX31" fmla="*/ 111314 w 146710"/>
              <a:gd name="connsiteY31" fmla="*/ 568044 h 813630"/>
              <a:gd name="connsiteX32" fmla="*/ 96968 w 146710"/>
              <a:gd name="connsiteY32" fmla="*/ 535497 h 813630"/>
              <a:gd name="connsiteX33" fmla="*/ 104390 w 146710"/>
              <a:gd name="connsiteY33" fmla="*/ 520952 h 813630"/>
              <a:gd name="connsiteX34" fmla="*/ 105786 w 146710"/>
              <a:gd name="connsiteY34" fmla="*/ 519226 h 813630"/>
              <a:gd name="connsiteX35" fmla="*/ 118614 w 146710"/>
              <a:gd name="connsiteY35" fmla="*/ 508730 h 813630"/>
              <a:gd name="connsiteX36" fmla="*/ 146670 w 146710"/>
              <a:gd name="connsiteY36" fmla="*/ 570459 h 813630"/>
              <a:gd name="connsiteX37" fmla="*/ 146672 w 146710"/>
              <a:gd name="connsiteY37" fmla="*/ 570459 h 813630"/>
              <a:gd name="connsiteX38" fmla="*/ 73870 w 146710"/>
              <a:gd name="connsiteY38" fmla="*/ 647384 h 813630"/>
              <a:gd name="connsiteX39" fmla="*/ 73344 w 146710"/>
              <a:gd name="connsiteY39" fmla="*/ 647384 h 813630"/>
              <a:gd name="connsiteX40" fmla="*/ 18 w 146710"/>
              <a:gd name="connsiteY40" fmla="*/ 575028 h 813630"/>
              <a:gd name="connsiteX41" fmla="*/ 22866 w 146710"/>
              <a:gd name="connsiteY41" fmla="*/ 520512 h 813630"/>
              <a:gd name="connsiteX42" fmla="*/ 76756 w 146710"/>
              <a:gd name="connsiteY42" fmla="*/ 502939 h 813630"/>
              <a:gd name="connsiteX43" fmla="*/ 146710 w 146710"/>
              <a:gd name="connsiteY43" fmla="*/ 457539 h 813630"/>
              <a:gd name="connsiteX44" fmla="*/ 146710 w 146710"/>
              <a:gd name="connsiteY44" fmla="*/ 457541 h 813630"/>
              <a:gd name="connsiteX45" fmla="*/ 146708 w 146710"/>
              <a:gd name="connsiteY45" fmla="*/ 457540 h 813630"/>
              <a:gd name="connsiteX46" fmla="*/ 113678 w 146710"/>
              <a:gd name="connsiteY46" fmla="*/ 343882 h 813630"/>
              <a:gd name="connsiteX47" fmla="*/ 132216 w 146710"/>
              <a:gd name="connsiteY47" fmla="*/ 355848 h 813630"/>
              <a:gd name="connsiteX48" fmla="*/ 134320 w 146710"/>
              <a:gd name="connsiteY48" fmla="*/ 357951 h 813630"/>
              <a:gd name="connsiteX49" fmla="*/ 146704 w 146710"/>
              <a:gd name="connsiteY49" fmla="*/ 376907 h 813630"/>
              <a:gd name="connsiteX50" fmla="*/ 106460 w 146710"/>
              <a:gd name="connsiteY50" fmla="*/ 417225 h 813630"/>
              <a:gd name="connsiteX51" fmla="*/ 146708 w 146710"/>
              <a:gd name="connsiteY51" fmla="*/ 457540 h 813630"/>
              <a:gd name="connsiteX52" fmla="*/ 134744 w 146710"/>
              <a:gd name="connsiteY52" fmla="*/ 476076 h 813630"/>
              <a:gd name="connsiteX53" fmla="*/ 132640 w 146710"/>
              <a:gd name="connsiteY53" fmla="*/ 478179 h 813630"/>
              <a:gd name="connsiteX54" fmla="*/ 113682 w 146710"/>
              <a:gd name="connsiteY54" fmla="*/ 490566 h 813630"/>
              <a:gd name="connsiteX55" fmla="*/ 82780 w 146710"/>
              <a:gd name="connsiteY55" fmla="*/ 459233 h 813630"/>
              <a:gd name="connsiteX56" fmla="*/ 63944 w 146710"/>
              <a:gd name="connsiteY56" fmla="*/ 459233 h 813630"/>
              <a:gd name="connsiteX57" fmla="*/ 33050 w 146710"/>
              <a:gd name="connsiteY57" fmla="*/ 490564 h 813630"/>
              <a:gd name="connsiteX58" fmla="*/ 14512 w 146710"/>
              <a:gd name="connsiteY58" fmla="*/ 478604 h 813630"/>
              <a:gd name="connsiteX59" fmla="*/ 12408 w 146710"/>
              <a:gd name="connsiteY59" fmla="*/ 476501 h 813630"/>
              <a:gd name="connsiteX60" fmla="*/ 24 w 146710"/>
              <a:gd name="connsiteY60" fmla="*/ 457542 h 813630"/>
              <a:gd name="connsiteX61" fmla="*/ 40268 w 146710"/>
              <a:gd name="connsiteY61" fmla="*/ 417225 h 813630"/>
              <a:gd name="connsiteX62" fmla="*/ 18 w 146710"/>
              <a:gd name="connsiteY62" fmla="*/ 376905 h 813630"/>
              <a:gd name="connsiteX63" fmla="*/ 11984 w 146710"/>
              <a:gd name="connsiteY63" fmla="*/ 358373 h 813630"/>
              <a:gd name="connsiteX64" fmla="*/ 14088 w 146710"/>
              <a:gd name="connsiteY64" fmla="*/ 356270 h 813630"/>
              <a:gd name="connsiteX65" fmla="*/ 33046 w 146710"/>
              <a:gd name="connsiteY65" fmla="*/ 343885 h 813630"/>
              <a:gd name="connsiteX66" fmla="*/ 63946 w 146710"/>
              <a:gd name="connsiteY66" fmla="*/ 375237 h 813630"/>
              <a:gd name="connsiteX67" fmla="*/ 82780 w 146710"/>
              <a:gd name="connsiteY67" fmla="*/ 375237 h 813630"/>
              <a:gd name="connsiteX68" fmla="*/ 4666 w 146710"/>
              <a:gd name="connsiteY68" fmla="*/ 272842 h 813630"/>
              <a:gd name="connsiteX69" fmla="*/ 142046 w 146710"/>
              <a:gd name="connsiteY69" fmla="*/ 272842 h 813630"/>
              <a:gd name="connsiteX70" fmla="*/ 146694 w 146710"/>
              <a:gd name="connsiteY70" fmla="*/ 294453 h 813630"/>
              <a:gd name="connsiteX71" fmla="*/ 146694 w 146710"/>
              <a:gd name="connsiteY71" fmla="*/ 297433 h 813630"/>
              <a:gd name="connsiteX72" fmla="*/ 146696 w 146710"/>
              <a:gd name="connsiteY72" fmla="*/ 297433 h 813630"/>
              <a:gd name="connsiteX73" fmla="*/ 142048 w 146710"/>
              <a:gd name="connsiteY73" fmla="*/ 319641 h 813630"/>
              <a:gd name="connsiteX74" fmla="*/ 4666 w 146710"/>
              <a:gd name="connsiteY74" fmla="*/ 319641 h 813630"/>
              <a:gd name="connsiteX75" fmla="*/ 18 w 146710"/>
              <a:gd name="connsiteY75" fmla="*/ 298030 h 813630"/>
              <a:gd name="connsiteX76" fmla="*/ 18 w 146710"/>
              <a:gd name="connsiteY76" fmla="*/ 295050 h 813630"/>
              <a:gd name="connsiteX77" fmla="*/ 4666 w 146710"/>
              <a:gd name="connsiteY77" fmla="*/ 272842 h 813630"/>
              <a:gd name="connsiteX78" fmla="*/ 121584 w 146710"/>
              <a:gd name="connsiteY78" fmla="*/ 140251 h 813630"/>
              <a:gd name="connsiteX79" fmla="*/ 124554 w 146710"/>
              <a:gd name="connsiteY79" fmla="*/ 140251 h 813630"/>
              <a:gd name="connsiteX80" fmla="*/ 146706 w 146710"/>
              <a:gd name="connsiteY80" fmla="*/ 144886 h 813630"/>
              <a:gd name="connsiteX81" fmla="*/ 146706 w 146710"/>
              <a:gd name="connsiteY81" fmla="*/ 179666 h 813630"/>
              <a:gd name="connsiteX82" fmla="*/ 82882 w 146710"/>
              <a:gd name="connsiteY82" fmla="*/ 244561 h 813630"/>
              <a:gd name="connsiteX83" fmla="*/ 4688 w 146710"/>
              <a:gd name="connsiteY83" fmla="*/ 244561 h 813630"/>
              <a:gd name="connsiteX84" fmla="*/ 52 w 146710"/>
              <a:gd name="connsiteY84" fmla="*/ 223006 h 813630"/>
              <a:gd name="connsiteX85" fmla="*/ 52 w 146710"/>
              <a:gd name="connsiteY85" fmla="*/ 220034 h 813630"/>
              <a:gd name="connsiteX86" fmla="*/ 4688 w 146710"/>
              <a:gd name="connsiteY86" fmla="*/ 197884 h 813630"/>
              <a:gd name="connsiteX87" fmla="*/ 23344 w 146710"/>
              <a:gd name="connsiteY87" fmla="*/ 197884 h 813630"/>
              <a:gd name="connsiteX88" fmla="*/ 23344 w 146710"/>
              <a:gd name="connsiteY88" fmla="*/ 164961 h 813630"/>
              <a:gd name="connsiteX89" fmla="*/ 44900 w 146710"/>
              <a:gd name="connsiteY89" fmla="*/ 160325 h 813630"/>
              <a:gd name="connsiteX90" fmla="*/ 47872 w 146710"/>
              <a:gd name="connsiteY90" fmla="*/ 160325 h 813630"/>
              <a:gd name="connsiteX91" fmla="*/ 70024 w 146710"/>
              <a:gd name="connsiteY91" fmla="*/ 164962 h 813630"/>
              <a:gd name="connsiteX92" fmla="*/ 70024 w 146710"/>
              <a:gd name="connsiteY92" fmla="*/ 197886 h 813630"/>
              <a:gd name="connsiteX93" fmla="*/ 81812 w 146710"/>
              <a:gd name="connsiteY93" fmla="*/ 197886 h 813630"/>
              <a:gd name="connsiteX94" fmla="*/ 100028 w 146710"/>
              <a:gd name="connsiteY94" fmla="*/ 179670 h 813630"/>
              <a:gd name="connsiteX95" fmla="*/ 100028 w 146710"/>
              <a:gd name="connsiteY95" fmla="*/ 144886 h 813630"/>
              <a:gd name="connsiteX96" fmla="*/ 121584 w 146710"/>
              <a:gd name="connsiteY96" fmla="*/ 140251 h 813630"/>
              <a:gd name="connsiteX97" fmla="*/ 33098 w 146710"/>
              <a:gd name="connsiteY97" fmla="*/ 0 h 813630"/>
              <a:gd name="connsiteX98" fmla="*/ 74608 w 146710"/>
              <a:gd name="connsiteY98" fmla="*/ 41508 h 813630"/>
              <a:gd name="connsiteX99" fmla="*/ 94970 w 146710"/>
              <a:gd name="connsiteY99" fmla="*/ 49943 h 813630"/>
              <a:gd name="connsiteX100" fmla="*/ 142046 w 146710"/>
              <a:gd name="connsiteY100" fmla="*/ 49943 h 813630"/>
              <a:gd name="connsiteX101" fmla="*/ 146692 w 146710"/>
              <a:gd name="connsiteY101" fmla="*/ 71547 h 813630"/>
              <a:gd name="connsiteX102" fmla="*/ 146692 w 146710"/>
              <a:gd name="connsiteY102" fmla="*/ 74526 h 813630"/>
              <a:gd name="connsiteX103" fmla="*/ 146694 w 146710"/>
              <a:gd name="connsiteY103" fmla="*/ 74526 h 813630"/>
              <a:gd name="connsiteX104" fmla="*/ 142048 w 146710"/>
              <a:gd name="connsiteY104" fmla="*/ 96728 h 813630"/>
              <a:gd name="connsiteX105" fmla="*/ 94974 w 146710"/>
              <a:gd name="connsiteY105" fmla="*/ 96728 h 813630"/>
              <a:gd name="connsiteX106" fmla="*/ 74610 w 146710"/>
              <a:gd name="connsiteY106" fmla="*/ 105164 h 813630"/>
              <a:gd name="connsiteX107" fmla="*/ 33102 w 146710"/>
              <a:gd name="connsiteY107" fmla="*/ 146674 h 813630"/>
              <a:gd name="connsiteX108" fmla="*/ 14520 w 146710"/>
              <a:gd name="connsiteY108" fmla="*/ 134696 h 813630"/>
              <a:gd name="connsiteX109" fmla="*/ 12420 w 146710"/>
              <a:gd name="connsiteY109" fmla="*/ 132593 h 813630"/>
              <a:gd name="connsiteX110" fmla="*/ 20 w 146710"/>
              <a:gd name="connsiteY110" fmla="*/ 113590 h 813630"/>
              <a:gd name="connsiteX111" fmla="*/ 40272 w 146710"/>
              <a:gd name="connsiteY111" fmla="*/ 73336 h 813630"/>
              <a:gd name="connsiteX112" fmla="*/ 16 w 146710"/>
              <a:gd name="connsiteY112" fmla="*/ 33082 h 813630"/>
              <a:gd name="connsiteX113" fmla="*/ 11994 w 146710"/>
              <a:gd name="connsiteY113" fmla="*/ 14502 h 813630"/>
              <a:gd name="connsiteX114" fmla="*/ 14094 w 146710"/>
              <a:gd name="connsiteY114" fmla="*/ 12399 h 813630"/>
              <a:gd name="connsiteX115" fmla="*/ 33098 w 146710"/>
              <a:gd name="connsiteY115" fmla="*/ 0 h 8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46710" h="813630">
                <a:moveTo>
                  <a:pt x="73976" y="665717"/>
                </a:moveTo>
                <a:lnTo>
                  <a:pt x="142044" y="665717"/>
                </a:lnTo>
                <a:cubicBezTo>
                  <a:pt x="145128" y="671840"/>
                  <a:pt x="146694" y="679110"/>
                  <a:pt x="146694" y="687332"/>
                </a:cubicBezTo>
                <a:lnTo>
                  <a:pt x="146694" y="690313"/>
                </a:lnTo>
                <a:cubicBezTo>
                  <a:pt x="146694" y="698912"/>
                  <a:pt x="145132" y="706375"/>
                  <a:pt x="142054" y="712506"/>
                </a:cubicBezTo>
                <a:cubicBezTo>
                  <a:pt x="119782" y="712486"/>
                  <a:pt x="94848" y="712508"/>
                  <a:pt x="72524" y="712506"/>
                </a:cubicBezTo>
                <a:cubicBezTo>
                  <a:pt x="66096" y="712506"/>
                  <a:pt x="60038" y="713826"/>
                  <a:pt x="54682" y="717549"/>
                </a:cubicBezTo>
                <a:cubicBezTo>
                  <a:pt x="48218" y="722045"/>
                  <a:pt x="44586" y="728268"/>
                  <a:pt x="43704" y="736077"/>
                </a:cubicBezTo>
                <a:cubicBezTo>
                  <a:pt x="42862" y="743553"/>
                  <a:pt x="44456" y="750426"/>
                  <a:pt x="49110" y="756419"/>
                </a:cubicBezTo>
                <a:cubicBezTo>
                  <a:pt x="55128" y="764169"/>
                  <a:pt x="63476" y="766898"/>
                  <a:pt x="72526" y="766914"/>
                </a:cubicBezTo>
                <a:cubicBezTo>
                  <a:pt x="94678" y="766950"/>
                  <a:pt x="119964" y="766943"/>
                  <a:pt x="142070" y="766914"/>
                </a:cubicBezTo>
                <a:cubicBezTo>
                  <a:pt x="145138" y="773028"/>
                  <a:pt x="146694" y="780282"/>
                  <a:pt x="146694" y="788484"/>
                </a:cubicBezTo>
                <a:lnTo>
                  <a:pt x="146694" y="791465"/>
                </a:lnTo>
                <a:cubicBezTo>
                  <a:pt x="146694" y="800070"/>
                  <a:pt x="145132" y="807493"/>
                  <a:pt x="142048" y="813630"/>
                </a:cubicBezTo>
                <a:lnTo>
                  <a:pt x="7152" y="813630"/>
                </a:lnTo>
                <a:cubicBezTo>
                  <a:pt x="4066" y="807516"/>
                  <a:pt x="2504" y="800263"/>
                  <a:pt x="2502" y="792058"/>
                </a:cubicBezTo>
                <a:lnTo>
                  <a:pt x="2502" y="789082"/>
                </a:lnTo>
                <a:cubicBezTo>
                  <a:pt x="2502" y="777950"/>
                  <a:pt x="7152" y="769096"/>
                  <a:pt x="7152" y="769096"/>
                </a:cubicBezTo>
                <a:cubicBezTo>
                  <a:pt x="3196" y="759880"/>
                  <a:pt x="0" y="749781"/>
                  <a:pt x="0" y="739697"/>
                </a:cubicBezTo>
                <a:cubicBezTo>
                  <a:pt x="0" y="719661"/>
                  <a:pt x="4486" y="701674"/>
                  <a:pt x="19462" y="686394"/>
                </a:cubicBezTo>
                <a:cubicBezTo>
                  <a:pt x="32742" y="672849"/>
                  <a:pt x="53578" y="666162"/>
                  <a:pt x="73976" y="665717"/>
                </a:cubicBezTo>
                <a:close/>
                <a:moveTo>
                  <a:pt x="56758" y="549329"/>
                </a:moveTo>
                <a:lnTo>
                  <a:pt x="55556" y="549652"/>
                </a:lnTo>
                <a:cubicBezTo>
                  <a:pt x="42590" y="553130"/>
                  <a:pt x="34850" y="562617"/>
                  <a:pt x="34850" y="575028"/>
                </a:cubicBezTo>
                <a:lnTo>
                  <a:pt x="34852" y="575028"/>
                </a:lnTo>
                <a:cubicBezTo>
                  <a:pt x="34852" y="586897"/>
                  <a:pt x="42192" y="595699"/>
                  <a:pt x="55522" y="599812"/>
                </a:cubicBezTo>
                <a:lnTo>
                  <a:pt x="56758" y="600193"/>
                </a:lnTo>
                <a:close/>
                <a:moveTo>
                  <a:pt x="76756" y="502939"/>
                </a:moveTo>
                <a:cubicBezTo>
                  <a:pt x="79662" y="502939"/>
                  <a:pt x="82922" y="502939"/>
                  <a:pt x="86036" y="503143"/>
                </a:cubicBezTo>
                <a:lnTo>
                  <a:pt x="86036" y="600731"/>
                </a:lnTo>
                <a:lnTo>
                  <a:pt x="87226" y="600426"/>
                </a:lnTo>
                <a:cubicBezTo>
                  <a:pt x="102984" y="596394"/>
                  <a:pt x="111314" y="585196"/>
                  <a:pt x="111314" y="568044"/>
                </a:cubicBezTo>
                <a:cubicBezTo>
                  <a:pt x="111314" y="555504"/>
                  <a:pt x="107150" y="546041"/>
                  <a:pt x="96968" y="535497"/>
                </a:cubicBezTo>
                <a:cubicBezTo>
                  <a:pt x="98090" y="530544"/>
                  <a:pt x="100586" y="525653"/>
                  <a:pt x="104390" y="520952"/>
                </a:cubicBezTo>
                <a:lnTo>
                  <a:pt x="105786" y="519226"/>
                </a:lnTo>
                <a:cubicBezTo>
                  <a:pt x="109760" y="514320"/>
                  <a:pt x="114072" y="510792"/>
                  <a:pt x="118614" y="508730"/>
                </a:cubicBezTo>
                <a:cubicBezTo>
                  <a:pt x="137492" y="523924"/>
                  <a:pt x="146670" y="544123"/>
                  <a:pt x="146670" y="570459"/>
                </a:cubicBezTo>
                <a:lnTo>
                  <a:pt x="146672" y="570459"/>
                </a:lnTo>
                <a:cubicBezTo>
                  <a:pt x="146672" y="615751"/>
                  <a:pt x="116736" y="647384"/>
                  <a:pt x="73870" y="647384"/>
                </a:cubicBezTo>
                <a:lnTo>
                  <a:pt x="73344" y="647384"/>
                </a:lnTo>
                <a:cubicBezTo>
                  <a:pt x="31542" y="647384"/>
                  <a:pt x="18" y="616277"/>
                  <a:pt x="18" y="575028"/>
                </a:cubicBezTo>
                <a:cubicBezTo>
                  <a:pt x="18" y="552012"/>
                  <a:pt x="7916" y="533161"/>
                  <a:pt x="22866" y="520512"/>
                </a:cubicBezTo>
                <a:cubicBezTo>
                  <a:pt x="36452" y="509015"/>
                  <a:pt x="55088" y="502939"/>
                  <a:pt x="76756" y="502939"/>
                </a:cubicBezTo>
                <a:close/>
                <a:moveTo>
                  <a:pt x="146710" y="457539"/>
                </a:moveTo>
                <a:lnTo>
                  <a:pt x="146710" y="457541"/>
                </a:lnTo>
                <a:lnTo>
                  <a:pt x="146708" y="457540"/>
                </a:lnTo>
                <a:close/>
                <a:moveTo>
                  <a:pt x="113678" y="343882"/>
                </a:moveTo>
                <a:cubicBezTo>
                  <a:pt x="120178" y="346021"/>
                  <a:pt x="126412" y="350044"/>
                  <a:pt x="132216" y="355848"/>
                </a:cubicBezTo>
                <a:lnTo>
                  <a:pt x="134320" y="357951"/>
                </a:lnTo>
                <a:cubicBezTo>
                  <a:pt x="140390" y="364020"/>
                  <a:pt x="144554" y="370394"/>
                  <a:pt x="146704" y="376907"/>
                </a:cubicBezTo>
                <a:lnTo>
                  <a:pt x="106460" y="417225"/>
                </a:lnTo>
                <a:lnTo>
                  <a:pt x="146708" y="457540"/>
                </a:lnTo>
                <a:lnTo>
                  <a:pt x="134744" y="476076"/>
                </a:lnTo>
                <a:lnTo>
                  <a:pt x="132640" y="478179"/>
                </a:lnTo>
                <a:cubicBezTo>
                  <a:pt x="126568" y="484252"/>
                  <a:pt x="120194" y="488416"/>
                  <a:pt x="113682" y="490566"/>
                </a:cubicBezTo>
                <a:lnTo>
                  <a:pt x="82780" y="459233"/>
                </a:lnTo>
                <a:cubicBezTo>
                  <a:pt x="77578" y="454039"/>
                  <a:pt x="69146" y="454039"/>
                  <a:pt x="63944" y="459233"/>
                </a:cubicBezTo>
                <a:lnTo>
                  <a:pt x="33050" y="490564"/>
                </a:lnTo>
                <a:cubicBezTo>
                  <a:pt x="26550" y="488425"/>
                  <a:pt x="20316" y="484405"/>
                  <a:pt x="14512" y="478604"/>
                </a:cubicBezTo>
                <a:lnTo>
                  <a:pt x="12408" y="476501"/>
                </a:lnTo>
                <a:cubicBezTo>
                  <a:pt x="6336" y="470428"/>
                  <a:pt x="2170" y="464053"/>
                  <a:pt x="24" y="457542"/>
                </a:cubicBezTo>
                <a:lnTo>
                  <a:pt x="40268" y="417225"/>
                </a:lnTo>
                <a:lnTo>
                  <a:pt x="18" y="376905"/>
                </a:lnTo>
                <a:cubicBezTo>
                  <a:pt x="2156" y="370405"/>
                  <a:pt x="6180" y="364177"/>
                  <a:pt x="11984" y="358373"/>
                </a:cubicBezTo>
                <a:lnTo>
                  <a:pt x="14088" y="356270"/>
                </a:lnTo>
                <a:cubicBezTo>
                  <a:pt x="20160" y="350198"/>
                  <a:pt x="26534" y="346033"/>
                  <a:pt x="33046" y="343885"/>
                </a:cubicBezTo>
                <a:lnTo>
                  <a:pt x="63946" y="375237"/>
                </a:lnTo>
                <a:cubicBezTo>
                  <a:pt x="69148" y="380432"/>
                  <a:pt x="77578" y="380432"/>
                  <a:pt x="82780" y="375237"/>
                </a:cubicBezTo>
                <a:close/>
                <a:moveTo>
                  <a:pt x="4666" y="272842"/>
                </a:moveTo>
                <a:lnTo>
                  <a:pt x="142046" y="272842"/>
                </a:lnTo>
                <a:cubicBezTo>
                  <a:pt x="145130" y="278963"/>
                  <a:pt x="146694" y="286231"/>
                  <a:pt x="146694" y="294453"/>
                </a:cubicBezTo>
                <a:lnTo>
                  <a:pt x="146694" y="297433"/>
                </a:lnTo>
                <a:lnTo>
                  <a:pt x="146696" y="297433"/>
                </a:lnTo>
                <a:cubicBezTo>
                  <a:pt x="146696" y="306036"/>
                  <a:pt x="145132" y="313503"/>
                  <a:pt x="142048" y="319641"/>
                </a:cubicBezTo>
                <a:lnTo>
                  <a:pt x="4666" y="319641"/>
                </a:lnTo>
                <a:cubicBezTo>
                  <a:pt x="1584" y="313520"/>
                  <a:pt x="18" y="306252"/>
                  <a:pt x="18" y="298030"/>
                </a:cubicBezTo>
                <a:lnTo>
                  <a:pt x="18" y="295050"/>
                </a:lnTo>
                <a:cubicBezTo>
                  <a:pt x="18" y="286445"/>
                  <a:pt x="1582" y="278976"/>
                  <a:pt x="4666" y="272842"/>
                </a:cubicBezTo>
                <a:close/>
                <a:moveTo>
                  <a:pt x="121584" y="140251"/>
                </a:moveTo>
                <a:lnTo>
                  <a:pt x="124554" y="140251"/>
                </a:lnTo>
                <a:cubicBezTo>
                  <a:pt x="133136" y="140251"/>
                  <a:pt x="140586" y="141810"/>
                  <a:pt x="146706" y="144886"/>
                </a:cubicBezTo>
                <a:lnTo>
                  <a:pt x="146706" y="179666"/>
                </a:lnTo>
                <a:cubicBezTo>
                  <a:pt x="146706" y="215157"/>
                  <a:pt x="117124" y="244561"/>
                  <a:pt x="82882" y="244561"/>
                </a:cubicBezTo>
                <a:lnTo>
                  <a:pt x="4688" y="244561"/>
                </a:lnTo>
                <a:cubicBezTo>
                  <a:pt x="1612" y="238454"/>
                  <a:pt x="52" y="231205"/>
                  <a:pt x="52" y="223006"/>
                </a:cubicBezTo>
                <a:lnTo>
                  <a:pt x="52" y="220034"/>
                </a:lnTo>
                <a:cubicBezTo>
                  <a:pt x="52" y="211453"/>
                  <a:pt x="1612" y="204004"/>
                  <a:pt x="4688" y="197884"/>
                </a:cubicBezTo>
                <a:lnTo>
                  <a:pt x="23344" y="197884"/>
                </a:lnTo>
                <a:lnTo>
                  <a:pt x="23344" y="164961"/>
                </a:lnTo>
                <a:cubicBezTo>
                  <a:pt x="29452" y="161885"/>
                  <a:pt x="36702" y="160325"/>
                  <a:pt x="44900" y="160325"/>
                </a:cubicBezTo>
                <a:lnTo>
                  <a:pt x="47872" y="160325"/>
                </a:lnTo>
                <a:cubicBezTo>
                  <a:pt x="56454" y="160325"/>
                  <a:pt x="63902" y="161885"/>
                  <a:pt x="70024" y="164962"/>
                </a:cubicBezTo>
                <a:lnTo>
                  <a:pt x="70024" y="197886"/>
                </a:lnTo>
                <a:lnTo>
                  <a:pt x="81812" y="197886"/>
                </a:lnTo>
                <a:cubicBezTo>
                  <a:pt x="91856" y="197886"/>
                  <a:pt x="100028" y="189714"/>
                  <a:pt x="100028" y="179670"/>
                </a:cubicBezTo>
                <a:lnTo>
                  <a:pt x="100028" y="144886"/>
                </a:lnTo>
                <a:cubicBezTo>
                  <a:pt x="106136" y="141810"/>
                  <a:pt x="113382" y="140251"/>
                  <a:pt x="121584" y="140251"/>
                </a:cubicBezTo>
                <a:close/>
                <a:moveTo>
                  <a:pt x="33098" y="0"/>
                </a:moveTo>
                <a:lnTo>
                  <a:pt x="74608" y="41508"/>
                </a:lnTo>
                <a:cubicBezTo>
                  <a:pt x="80008" y="46908"/>
                  <a:pt x="87332" y="49943"/>
                  <a:pt x="94970" y="49943"/>
                </a:cubicBezTo>
                <a:lnTo>
                  <a:pt x="142046" y="49943"/>
                </a:lnTo>
                <a:cubicBezTo>
                  <a:pt x="145130" y="56062"/>
                  <a:pt x="146692" y="63328"/>
                  <a:pt x="146692" y="71547"/>
                </a:cubicBezTo>
                <a:lnTo>
                  <a:pt x="146692" y="74526"/>
                </a:lnTo>
                <a:lnTo>
                  <a:pt x="146694" y="74526"/>
                </a:lnTo>
                <a:cubicBezTo>
                  <a:pt x="146694" y="83128"/>
                  <a:pt x="145132" y="90595"/>
                  <a:pt x="142048" y="96728"/>
                </a:cubicBezTo>
                <a:lnTo>
                  <a:pt x="94974" y="96728"/>
                </a:lnTo>
                <a:cubicBezTo>
                  <a:pt x="87336" y="96728"/>
                  <a:pt x="80010" y="99763"/>
                  <a:pt x="74610" y="105164"/>
                </a:cubicBezTo>
                <a:lnTo>
                  <a:pt x="33102" y="146674"/>
                </a:lnTo>
                <a:cubicBezTo>
                  <a:pt x="26586" y="144540"/>
                  <a:pt x="20338" y="140512"/>
                  <a:pt x="14520" y="134696"/>
                </a:cubicBezTo>
                <a:lnTo>
                  <a:pt x="12420" y="132593"/>
                </a:lnTo>
                <a:cubicBezTo>
                  <a:pt x="6334" y="126507"/>
                  <a:pt x="2164" y="120115"/>
                  <a:pt x="20" y="113590"/>
                </a:cubicBezTo>
                <a:lnTo>
                  <a:pt x="40272" y="73336"/>
                </a:lnTo>
                <a:lnTo>
                  <a:pt x="16" y="33082"/>
                </a:lnTo>
                <a:cubicBezTo>
                  <a:pt x="2150" y="26566"/>
                  <a:pt x="6178" y="20318"/>
                  <a:pt x="11994" y="14502"/>
                </a:cubicBezTo>
                <a:lnTo>
                  <a:pt x="14094" y="12399"/>
                </a:lnTo>
                <a:cubicBezTo>
                  <a:pt x="20182" y="6312"/>
                  <a:pt x="26572" y="2144"/>
                  <a:pt x="3309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6123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 sur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F4091AEE-F60C-E57F-985B-9F85930D07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478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rgbClr val="DCFAFF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D96F1A9-4410-4222-B41F-E19BC26CC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CFB0F91-EBE7-4F0E-9B92-C50086668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478D7A1-B286-4721-97A3-4A6D0AB2F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t>‹N°›</a:t>
            </a:fld>
            <a:endParaRPr lang="fr-FR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C7488F83-4697-05F6-7C85-FD78AE120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ECA9F94-75CB-FDCA-4A90-1E93E0EA76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37219B3-3DDF-99B9-1D44-E8EBCF05013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234743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" name="Espace réservé du texte 16">
            <a:extLst>
              <a:ext uri="{FF2B5EF4-FFF2-40B4-BE49-F238E27FC236}">
                <a16:creationId xmlns:a16="http://schemas.microsoft.com/office/drawing/2014/main" id="{0D8F24EB-B513-5E06-0741-2F50B42E1B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601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0854174-B832-68FE-590C-66B8198BAFC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04008" y="2168641"/>
            <a:ext cx="2672616" cy="1289836"/>
          </a:xfrm>
          <a:custGeom>
            <a:avLst/>
            <a:gdLst>
              <a:gd name="connsiteX0" fmla="*/ 1336308 w 2672616"/>
              <a:gd name="connsiteY0" fmla="*/ 0 h 1289836"/>
              <a:gd name="connsiteX1" fmla="*/ 2608974 w 2672616"/>
              <a:gd name="connsiteY1" fmla="*/ 30673 h 1289836"/>
              <a:gd name="connsiteX2" fmla="*/ 2608974 w 2672616"/>
              <a:gd name="connsiteY2" fmla="*/ 1259116 h 1289836"/>
              <a:gd name="connsiteX3" fmla="*/ 63594 w 2672616"/>
              <a:gd name="connsiteY3" fmla="*/ 1259116 h 1289836"/>
              <a:gd name="connsiteX4" fmla="*/ 63594 w 2672616"/>
              <a:gd name="connsiteY4" fmla="*/ 30673 h 1289836"/>
              <a:gd name="connsiteX5" fmla="*/ 1336308 w 2672616"/>
              <a:gd name="connsiteY5" fmla="*/ 0 h 12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2616" h="1289836">
                <a:moveTo>
                  <a:pt x="1336308" y="0"/>
                </a:moveTo>
                <a:cubicBezTo>
                  <a:pt x="1760535" y="0"/>
                  <a:pt x="2184755" y="10225"/>
                  <a:pt x="2608974" y="30673"/>
                </a:cubicBezTo>
                <a:cubicBezTo>
                  <a:pt x="2693830" y="440154"/>
                  <a:pt x="2693830" y="849635"/>
                  <a:pt x="2608974" y="1259116"/>
                </a:cubicBezTo>
                <a:cubicBezTo>
                  <a:pt x="1760535" y="1300077"/>
                  <a:pt x="912032" y="1300077"/>
                  <a:pt x="63594" y="1259116"/>
                </a:cubicBezTo>
                <a:cubicBezTo>
                  <a:pt x="-21199" y="849635"/>
                  <a:pt x="-21199" y="440154"/>
                  <a:pt x="63594" y="30673"/>
                </a:cubicBezTo>
                <a:cubicBezTo>
                  <a:pt x="487845" y="10225"/>
                  <a:pt x="912081" y="0"/>
                  <a:pt x="1336308" y="0"/>
                </a:cubicBezTo>
                <a:close/>
              </a:path>
            </a:pathLst>
          </a:custGeom>
          <a:solidFill>
            <a:srgbClr val="C83278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id="{66E2F2DE-54E2-D3F8-3415-5CC3E67F4C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49800" y="3695700"/>
            <a:ext cx="2880000" cy="14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ADDCF310-2AE5-F928-0C59-FBACFFD0BF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109743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rgbClr val="F0C8AF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5" name="Espace réservé du texte 16">
            <a:extLst>
              <a:ext uri="{FF2B5EF4-FFF2-40B4-BE49-F238E27FC236}">
                <a16:creationId xmlns:a16="http://schemas.microsoft.com/office/drawing/2014/main" id="{E0222769-3AB3-522A-98F0-A4FED529153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995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1" name="Espace réservé du texte 40">
            <a:extLst>
              <a:ext uri="{FF2B5EF4-FFF2-40B4-BE49-F238E27FC236}">
                <a16:creationId xmlns:a16="http://schemas.microsoft.com/office/drawing/2014/main" id="{B5042314-57B6-5EED-7ECF-D81CF5087105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8879010" y="2169677"/>
            <a:ext cx="2210149" cy="1288800"/>
          </a:xfrm>
          <a:custGeom>
            <a:avLst/>
            <a:gdLst>
              <a:gd name="connsiteX0" fmla="*/ 905756 w 1811513"/>
              <a:gd name="connsiteY0" fmla="*/ 0 h 1109173"/>
              <a:gd name="connsiteX1" fmla="*/ 1768376 w 1811513"/>
              <a:gd name="connsiteY1" fmla="*/ 26377 h 1109173"/>
              <a:gd name="connsiteX2" fmla="*/ 1768376 w 1811513"/>
              <a:gd name="connsiteY2" fmla="*/ 1082755 h 1109173"/>
              <a:gd name="connsiteX3" fmla="*/ 43104 w 1811513"/>
              <a:gd name="connsiteY3" fmla="*/ 1082755 h 1109173"/>
              <a:gd name="connsiteX4" fmla="*/ 43104 w 1811513"/>
              <a:gd name="connsiteY4" fmla="*/ 26377 h 1109173"/>
              <a:gd name="connsiteX5" fmla="*/ 905756 w 1811513"/>
              <a:gd name="connsiteY5" fmla="*/ 0 h 110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1513" h="1109173">
                <a:moveTo>
                  <a:pt x="905756" y="0"/>
                </a:moveTo>
                <a:cubicBezTo>
                  <a:pt x="1193300" y="0"/>
                  <a:pt x="1480838" y="8793"/>
                  <a:pt x="1768376" y="26377"/>
                </a:cubicBezTo>
                <a:cubicBezTo>
                  <a:pt x="1825892" y="378503"/>
                  <a:pt x="1825892" y="730629"/>
                  <a:pt x="1768376" y="1082755"/>
                </a:cubicBezTo>
                <a:cubicBezTo>
                  <a:pt x="1193300" y="1117979"/>
                  <a:pt x="618180" y="1117979"/>
                  <a:pt x="43104" y="1082755"/>
                </a:cubicBezTo>
                <a:cubicBezTo>
                  <a:pt x="-14369" y="730629"/>
                  <a:pt x="-14369" y="378503"/>
                  <a:pt x="43104" y="26377"/>
                </a:cubicBezTo>
                <a:cubicBezTo>
                  <a:pt x="330664" y="8793"/>
                  <a:pt x="618213" y="0"/>
                  <a:pt x="905756" y="0"/>
                </a:cubicBezTo>
                <a:close/>
              </a:path>
            </a:pathLst>
          </a:custGeom>
          <a:solidFill>
            <a:srgbClr val="F0DCE1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1A0AFE7D-F94A-3505-B363-68EB21254B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789202" y="3695700"/>
            <a:ext cx="2520000" cy="14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475931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iffres Clés sur fond rou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F4091AEE-F60C-E57F-985B-9F85930D07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478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D96F1A9-4410-4222-B41F-E19BC26CC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CFB0F91-EBE7-4F0E-9B92-C50086668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478D7A1-B286-4721-97A3-4A6D0AB2F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C7488F83-4697-05F6-7C85-FD78AE120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A7A61EE-7B33-6419-45EA-D2BBF8CF4C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11268524" y="5912051"/>
            <a:ext cx="813600" cy="146641"/>
          </a:xfrm>
          <a:prstGeom prst="rect">
            <a:avLst/>
          </a:prstGeom>
        </p:spPr>
      </p:pic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ECA9F94-75CB-FDCA-4A90-1E93E0EA76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37219B3-3DDF-99B9-1D44-E8EBCF05013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234743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4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" name="Espace réservé du texte 16">
            <a:extLst>
              <a:ext uri="{FF2B5EF4-FFF2-40B4-BE49-F238E27FC236}">
                <a16:creationId xmlns:a16="http://schemas.microsoft.com/office/drawing/2014/main" id="{0D8F24EB-B513-5E06-0741-2F50B42E1B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601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0854174-B832-68FE-590C-66B8198BAFC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04008" y="2168641"/>
            <a:ext cx="2672616" cy="1289836"/>
          </a:xfrm>
          <a:custGeom>
            <a:avLst/>
            <a:gdLst>
              <a:gd name="connsiteX0" fmla="*/ 1336308 w 2672616"/>
              <a:gd name="connsiteY0" fmla="*/ 0 h 1289836"/>
              <a:gd name="connsiteX1" fmla="*/ 2608974 w 2672616"/>
              <a:gd name="connsiteY1" fmla="*/ 30673 h 1289836"/>
              <a:gd name="connsiteX2" fmla="*/ 2608974 w 2672616"/>
              <a:gd name="connsiteY2" fmla="*/ 1259116 h 1289836"/>
              <a:gd name="connsiteX3" fmla="*/ 63594 w 2672616"/>
              <a:gd name="connsiteY3" fmla="*/ 1259116 h 1289836"/>
              <a:gd name="connsiteX4" fmla="*/ 63594 w 2672616"/>
              <a:gd name="connsiteY4" fmla="*/ 30673 h 1289836"/>
              <a:gd name="connsiteX5" fmla="*/ 1336308 w 2672616"/>
              <a:gd name="connsiteY5" fmla="*/ 0 h 12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2616" h="1289836">
                <a:moveTo>
                  <a:pt x="1336308" y="0"/>
                </a:moveTo>
                <a:cubicBezTo>
                  <a:pt x="1760535" y="0"/>
                  <a:pt x="2184755" y="10225"/>
                  <a:pt x="2608974" y="30673"/>
                </a:cubicBezTo>
                <a:cubicBezTo>
                  <a:pt x="2693830" y="440154"/>
                  <a:pt x="2693830" y="849635"/>
                  <a:pt x="2608974" y="1259116"/>
                </a:cubicBezTo>
                <a:cubicBezTo>
                  <a:pt x="1760535" y="1300077"/>
                  <a:pt x="912032" y="1300077"/>
                  <a:pt x="63594" y="1259116"/>
                </a:cubicBezTo>
                <a:cubicBezTo>
                  <a:pt x="-21199" y="849635"/>
                  <a:pt x="-21199" y="440154"/>
                  <a:pt x="63594" y="30673"/>
                </a:cubicBezTo>
                <a:cubicBezTo>
                  <a:pt x="487845" y="10225"/>
                  <a:pt x="912081" y="0"/>
                  <a:pt x="1336308" y="0"/>
                </a:cubicBezTo>
                <a:close/>
              </a:path>
            </a:pathLst>
          </a:custGeom>
          <a:solidFill>
            <a:schemeClr val="accent4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id="{66E2F2DE-54E2-D3F8-3415-5CC3E67F4C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49800" y="3695700"/>
            <a:ext cx="2880000" cy="144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ADDCF310-2AE5-F928-0C59-FBACFFD0BF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109743" y="2168845"/>
            <a:ext cx="1336146" cy="1289632"/>
          </a:xfrm>
          <a:custGeom>
            <a:avLst/>
            <a:gdLst>
              <a:gd name="connsiteX0" fmla="*/ 445921 w 891797"/>
              <a:gd name="connsiteY0" fmla="*/ 0 h 860752"/>
              <a:gd name="connsiteX1" fmla="*/ 870578 w 891797"/>
              <a:gd name="connsiteY1" fmla="*/ 20465 h 860752"/>
              <a:gd name="connsiteX2" fmla="*/ 870578 w 891797"/>
              <a:gd name="connsiteY2" fmla="*/ 840243 h 860752"/>
              <a:gd name="connsiteX3" fmla="*/ 21264 w 891797"/>
              <a:gd name="connsiteY3" fmla="*/ 840243 h 860752"/>
              <a:gd name="connsiteX4" fmla="*/ 21264 w 891797"/>
              <a:gd name="connsiteY4" fmla="*/ 20465 h 860752"/>
              <a:gd name="connsiteX5" fmla="*/ 445921 w 891797"/>
              <a:gd name="connsiteY5" fmla="*/ 0 h 860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1797" h="860752">
                <a:moveTo>
                  <a:pt x="445921" y="0"/>
                </a:moveTo>
                <a:cubicBezTo>
                  <a:pt x="587473" y="0"/>
                  <a:pt x="729026" y="6821"/>
                  <a:pt x="870578" y="20465"/>
                </a:cubicBezTo>
                <a:cubicBezTo>
                  <a:pt x="898871" y="293744"/>
                  <a:pt x="898871" y="566964"/>
                  <a:pt x="870578" y="840243"/>
                </a:cubicBezTo>
                <a:cubicBezTo>
                  <a:pt x="587473" y="867589"/>
                  <a:pt x="304368" y="867589"/>
                  <a:pt x="21264" y="840243"/>
                </a:cubicBezTo>
                <a:cubicBezTo>
                  <a:pt x="-7088" y="567023"/>
                  <a:pt x="-7088" y="293744"/>
                  <a:pt x="21264" y="20465"/>
                </a:cubicBezTo>
                <a:cubicBezTo>
                  <a:pt x="162816" y="6821"/>
                  <a:pt x="304369" y="0"/>
                  <a:pt x="445921" y="0"/>
                </a:cubicBezTo>
                <a:close/>
              </a:path>
            </a:pathLst>
          </a:custGeom>
          <a:solidFill>
            <a:schemeClr val="accent4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5" name="Espace réservé du texte 16">
            <a:extLst>
              <a:ext uri="{FF2B5EF4-FFF2-40B4-BE49-F238E27FC236}">
                <a16:creationId xmlns:a16="http://schemas.microsoft.com/office/drawing/2014/main" id="{E0222769-3AB3-522A-98F0-A4FED529153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99500" y="3695700"/>
            <a:ext cx="1620000" cy="144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1" name="Espace réservé du texte 40">
            <a:extLst>
              <a:ext uri="{FF2B5EF4-FFF2-40B4-BE49-F238E27FC236}">
                <a16:creationId xmlns:a16="http://schemas.microsoft.com/office/drawing/2014/main" id="{B5042314-57B6-5EED-7ECF-D81CF5087105}"/>
              </a:ext>
            </a:extLst>
          </p:cNvPr>
          <p:cNvSpPr>
            <a:spLocks noGrp="1" noChangeAspect="1"/>
          </p:cNvSpPr>
          <p:nvPr>
            <p:ph type="body" idx="22" hasCustomPrompt="1"/>
          </p:nvPr>
        </p:nvSpPr>
        <p:spPr>
          <a:xfrm>
            <a:off x="8879010" y="2169677"/>
            <a:ext cx="2210149" cy="1288800"/>
          </a:xfrm>
          <a:custGeom>
            <a:avLst/>
            <a:gdLst>
              <a:gd name="connsiteX0" fmla="*/ 905756 w 1811513"/>
              <a:gd name="connsiteY0" fmla="*/ 0 h 1109173"/>
              <a:gd name="connsiteX1" fmla="*/ 1768376 w 1811513"/>
              <a:gd name="connsiteY1" fmla="*/ 26377 h 1109173"/>
              <a:gd name="connsiteX2" fmla="*/ 1768376 w 1811513"/>
              <a:gd name="connsiteY2" fmla="*/ 1082755 h 1109173"/>
              <a:gd name="connsiteX3" fmla="*/ 43104 w 1811513"/>
              <a:gd name="connsiteY3" fmla="*/ 1082755 h 1109173"/>
              <a:gd name="connsiteX4" fmla="*/ 43104 w 1811513"/>
              <a:gd name="connsiteY4" fmla="*/ 26377 h 1109173"/>
              <a:gd name="connsiteX5" fmla="*/ 905756 w 1811513"/>
              <a:gd name="connsiteY5" fmla="*/ 0 h 110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1513" h="1109173">
                <a:moveTo>
                  <a:pt x="905756" y="0"/>
                </a:moveTo>
                <a:cubicBezTo>
                  <a:pt x="1193300" y="0"/>
                  <a:pt x="1480838" y="8793"/>
                  <a:pt x="1768376" y="26377"/>
                </a:cubicBezTo>
                <a:cubicBezTo>
                  <a:pt x="1825892" y="378503"/>
                  <a:pt x="1825892" y="730629"/>
                  <a:pt x="1768376" y="1082755"/>
                </a:cubicBezTo>
                <a:cubicBezTo>
                  <a:pt x="1193300" y="1117979"/>
                  <a:pt x="618180" y="1117979"/>
                  <a:pt x="43104" y="1082755"/>
                </a:cubicBezTo>
                <a:cubicBezTo>
                  <a:pt x="-14369" y="730629"/>
                  <a:pt x="-14369" y="378503"/>
                  <a:pt x="43104" y="26377"/>
                </a:cubicBezTo>
                <a:cubicBezTo>
                  <a:pt x="330664" y="8793"/>
                  <a:pt x="618213" y="0"/>
                  <a:pt x="905756" y="0"/>
                </a:cubicBezTo>
                <a:close/>
              </a:path>
            </a:pathLst>
          </a:custGeom>
          <a:solidFill>
            <a:schemeClr val="accent4"/>
          </a:solidFill>
          <a:ln w="3175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7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1A0AFE7D-F94A-3505-B363-68EB21254B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789202" y="3695700"/>
            <a:ext cx="2520000" cy="144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Graphique 9">
            <a:extLst>
              <a:ext uri="{FF2B5EF4-FFF2-40B4-BE49-F238E27FC236}">
                <a16:creationId xmlns:a16="http://schemas.microsoft.com/office/drawing/2014/main" id="{8250C4AE-3DEF-F517-EE6E-FBA38F54BBB3}"/>
              </a:ext>
            </a:extLst>
          </p:cNvPr>
          <p:cNvSpPr/>
          <p:nvPr userDrawn="1"/>
        </p:nvSpPr>
        <p:spPr>
          <a:xfrm>
            <a:off x="11595552" y="458685"/>
            <a:ext cx="159544" cy="159544"/>
          </a:xfrm>
          <a:custGeom>
            <a:avLst/>
            <a:gdLst>
              <a:gd name="connsiteX0" fmla="*/ 0 w 217931"/>
              <a:gd name="connsiteY0" fmla="*/ 104584 h 217931"/>
              <a:gd name="connsiteX1" fmla="*/ 0 w 217931"/>
              <a:gd name="connsiteY1" fmla="*/ 113348 h 217931"/>
              <a:gd name="connsiteX2" fmla="*/ 104584 w 217931"/>
              <a:gd name="connsiteY2" fmla="*/ 217932 h 217931"/>
              <a:gd name="connsiteX3" fmla="*/ 113348 w 217931"/>
              <a:gd name="connsiteY3" fmla="*/ 217932 h 217931"/>
              <a:gd name="connsiteX4" fmla="*/ 217932 w 217931"/>
              <a:gd name="connsiteY4" fmla="*/ 113348 h 217931"/>
              <a:gd name="connsiteX5" fmla="*/ 217932 w 217931"/>
              <a:gd name="connsiteY5" fmla="*/ 104584 h 217931"/>
              <a:gd name="connsiteX6" fmla="*/ 113252 w 217931"/>
              <a:gd name="connsiteY6" fmla="*/ 0 h 217931"/>
              <a:gd name="connsiteX7" fmla="*/ 104489 w 217931"/>
              <a:gd name="connsiteY7" fmla="*/ 0 h 217931"/>
              <a:gd name="connsiteX8" fmla="*/ 0 w 217931"/>
              <a:gd name="connsiteY8" fmla="*/ 104584 h 21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931" h="217931">
                <a:moveTo>
                  <a:pt x="0" y="104584"/>
                </a:moveTo>
                <a:lnTo>
                  <a:pt x="0" y="113348"/>
                </a:lnTo>
                <a:cubicBezTo>
                  <a:pt x="0" y="180689"/>
                  <a:pt x="37148" y="217932"/>
                  <a:pt x="104584" y="217932"/>
                </a:cubicBezTo>
                <a:lnTo>
                  <a:pt x="113348" y="217932"/>
                </a:lnTo>
                <a:cubicBezTo>
                  <a:pt x="180689" y="217932"/>
                  <a:pt x="217932" y="180785"/>
                  <a:pt x="217932" y="113348"/>
                </a:cubicBezTo>
                <a:lnTo>
                  <a:pt x="217932" y="104584"/>
                </a:lnTo>
                <a:cubicBezTo>
                  <a:pt x="217837" y="37148"/>
                  <a:pt x="180594" y="0"/>
                  <a:pt x="113252" y="0"/>
                </a:cubicBezTo>
                <a:lnTo>
                  <a:pt x="104489" y="0"/>
                </a:lnTo>
                <a:cubicBezTo>
                  <a:pt x="37148" y="0"/>
                  <a:pt x="0" y="37148"/>
                  <a:pt x="0" y="104584"/>
                </a:cubicBezTo>
              </a:path>
            </a:pathLst>
          </a:custGeom>
          <a:solidFill>
            <a:schemeClr val="bg2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51779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ur fond roug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381E21D4-060F-1333-A414-576D7899453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4826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3420000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7702C9-0031-46C3-BA33-F53A2D990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444" y="1824421"/>
            <a:ext cx="3420000" cy="46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rgbClr val="DCFAFF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graphique 10">
            <a:extLst>
              <a:ext uri="{FF2B5EF4-FFF2-40B4-BE49-F238E27FC236}">
                <a16:creationId xmlns:a16="http://schemas.microsoft.com/office/drawing/2014/main" id="{D7C8A4F2-4CFF-1061-BBBE-3EE9C05C509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825998" y="729000"/>
            <a:ext cx="6480000" cy="540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072819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3420000" cy="108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7702C9-0031-46C3-BA33-F53A2D990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444" y="1824421"/>
            <a:ext cx="342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/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graphique 10">
            <a:extLst>
              <a:ext uri="{FF2B5EF4-FFF2-40B4-BE49-F238E27FC236}">
                <a16:creationId xmlns:a16="http://schemas.microsoft.com/office/drawing/2014/main" id="{D7C8A4F2-4CFF-1061-BBBE-3EE9C05C509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170888" y="729000"/>
            <a:ext cx="6480000" cy="540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264424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1FE6D10B-8BD4-A2B7-079B-48445EAAFA07}"/>
              </a:ext>
            </a:extLst>
          </p:cNvPr>
          <p:cNvSpPr/>
          <p:nvPr userDrawn="1"/>
        </p:nvSpPr>
        <p:spPr>
          <a:xfrm flipH="1">
            <a:off x="5106910" y="0"/>
            <a:ext cx="7085090" cy="6858000"/>
          </a:xfrm>
          <a:custGeom>
            <a:avLst/>
            <a:gdLst>
              <a:gd name="connsiteX0" fmla="*/ 7050546 w 7085090"/>
              <a:gd name="connsiteY0" fmla="*/ 0 h 6858000"/>
              <a:gd name="connsiteX1" fmla="*/ 6466346 w 7085090"/>
              <a:gd name="connsiteY1" fmla="*/ 0 h 6858000"/>
              <a:gd name="connsiteX2" fmla="*/ 6196855 w 7085090"/>
              <a:gd name="connsiteY2" fmla="*/ 0 h 6858000"/>
              <a:gd name="connsiteX3" fmla="*/ 5778857 w 7085090"/>
              <a:gd name="connsiteY3" fmla="*/ 0 h 6858000"/>
              <a:gd name="connsiteX4" fmla="*/ 5612655 w 7085090"/>
              <a:gd name="connsiteY4" fmla="*/ 0 h 6858000"/>
              <a:gd name="connsiteX5" fmla="*/ 5194657 w 7085090"/>
              <a:gd name="connsiteY5" fmla="*/ 0 h 6858000"/>
              <a:gd name="connsiteX6" fmla="*/ 4979011 w 7085090"/>
              <a:gd name="connsiteY6" fmla="*/ 0 h 6858000"/>
              <a:gd name="connsiteX7" fmla="*/ 4394811 w 7085090"/>
              <a:gd name="connsiteY7" fmla="*/ 0 h 6858000"/>
              <a:gd name="connsiteX8" fmla="*/ 2256486 w 7085090"/>
              <a:gd name="connsiteY8" fmla="*/ 0 h 6858000"/>
              <a:gd name="connsiteX9" fmla="*/ 1672286 w 7085090"/>
              <a:gd name="connsiteY9" fmla="*/ 0 h 6858000"/>
              <a:gd name="connsiteX10" fmla="*/ 1605780 w 7085090"/>
              <a:gd name="connsiteY10" fmla="*/ 0 h 6858000"/>
              <a:gd name="connsiteX11" fmla="*/ 1021580 w 7085090"/>
              <a:gd name="connsiteY11" fmla="*/ 0 h 6858000"/>
              <a:gd name="connsiteX12" fmla="*/ 984797 w 7085090"/>
              <a:gd name="connsiteY12" fmla="*/ 0 h 6858000"/>
              <a:gd name="connsiteX13" fmla="*/ 400597 w 7085090"/>
              <a:gd name="connsiteY13" fmla="*/ 0 h 6858000"/>
              <a:gd name="connsiteX14" fmla="*/ 387936 w 7085090"/>
              <a:gd name="connsiteY14" fmla="*/ 0 h 6858000"/>
              <a:gd name="connsiteX15" fmla="*/ 0 w 7085090"/>
              <a:gd name="connsiteY15" fmla="*/ 0 h 6858000"/>
              <a:gd name="connsiteX16" fmla="*/ 0 w 7085090"/>
              <a:gd name="connsiteY16" fmla="*/ 6858000 h 6858000"/>
              <a:gd name="connsiteX17" fmla="*/ 387936 w 7085090"/>
              <a:gd name="connsiteY17" fmla="*/ 6858000 h 6858000"/>
              <a:gd name="connsiteX18" fmla="*/ 400597 w 7085090"/>
              <a:gd name="connsiteY18" fmla="*/ 6858000 h 6858000"/>
              <a:gd name="connsiteX19" fmla="*/ 984797 w 7085090"/>
              <a:gd name="connsiteY19" fmla="*/ 6858000 h 6858000"/>
              <a:gd name="connsiteX20" fmla="*/ 1021580 w 7085090"/>
              <a:gd name="connsiteY20" fmla="*/ 6858000 h 6858000"/>
              <a:gd name="connsiteX21" fmla="*/ 1605780 w 7085090"/>
              <a:gd name="connsiteY21" fmla="*/ 6858000 h 6858000"/>
              <a:gd name="connsiteX22" fmla="*/ 1672286 w 7085090"/>
              <a:gd name="connsiteY22" fmla="*/ 6858000 h 6858000"/>
              <a:gd name="connsiteX23" fmla="*/ 2256486 w 7085090"/>
              <a:gd name="connsiteY23" fmla="*/ 6858000 h 6858000"/>
              <a:gd name="connsiteX24" fmla="*/ 4427892 w 7085090"/>
              <a:gd name="connsiteY24" fmla="*/ 6858000 h 6858000"/>
              <a:gd name="connsiteX25" fmla="*/ 5012092 w 7085090"/>
              <a:gd name="connsiteY25" fmla="*/ 6858000 h 6858000"/>
              <a:gd name="connsiteX26" fmla="*/ 5229201 w 7085090"/>
              <a:gd name="connsiteY26" fmla="*/ 6858000 h 6858000"/>
              <a:gd name="connsiteX27" fmla="*/ 5645736 w 7085090"/>
              <a:gd name="connsiteY27" fmla="*/ 6858000 h 6858000"/>
              <a:gd name="connsiteX28" fmla="*/ 5813401 w 7085090"/>
              <a:gd name="connsiteY28" fmla="*/ 6858000 h 6858000"/>
              <a:gd name="connsiteX29" fmla="*/ 6229936 w 7085090"/>
              <a:gd name="connsiteY29" fmla="*/ 6858000 h 6858000"/>
              <a:gd name="connsiteX30" fmla="*/ 6500890 w 7085090"/>
              <a:gd name="connsiteY30" fmla="*/ 6858000 h 6858000"/>
              <a:gd name="connsiteX31" fmla="*/ 7085090 w 7085090"/>
              <a:gd name="connsiteY31" fmla="*/ 6858000 h 6858000"/>
              <a:gd name="connsiteX32" fmla="*/ 6476760 w 7085090"/>
              <a:gd name="connsiteY32" fmla="*/ 3673539 h 6858000"/>
              <a:gd name="connsiteX33" fmla="*/ 6476823 w 7085090"/>
              <a:gd name="connsiteY33" fmla="*/ 3673602 h 6858000"/>
              <a:gd name="connsiteX34" fmla="*/ 6476823 w 7085090"/>
              <a:gd name="connsiteY34" fmla="*/ 3200781 h 6858000"/>
              <a:gd name="connsiteX35" fmla="*/ 7050546 w 7085090"/>
              <a:gd name="connsiteY3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085090" h="6858000">
                <a:moveTo>
                  <a:pt x="7050546" y="0"/>
                </a:moveTo>
                <a:lnTo>
                  <a:pt x="6466346" y="0"/>
                </a:lnTo>
                <a:lnTo>
                  <a:pt x="6196855" y="0"/>
                </a:lnTo>
                <a:lnTo>
                  <a:pt x="5778857" y="0"/>
                </a:lnTo>
                <a:lnTo>
                  <a:pt x="5612655" y="0"/>
                </a:lnTo>
                <a:lnTo>
                  <a:pt x="5194657" y="0"/>
                </a:lnTo>
                <a:lnTo>
                  <a:pt x="4979011" y="0"/>
                </a:lnTo>
                <a:lnTo>
                  <a:pt x="4394811" y="0"/>
                </a:lnTo>
                <a:lnTo>
                  <a:pt x="2256486" y="0"/>
                </a:lnTo>
                <a:lnTo>
                  <a:pt x="1672286" y="0"/>
                </a:lnTo>
                <a:lnTo>
                  <a:pt x="1605780" y="0"/>
                </a:lnTo>
                <a:lnTo>
                  <a:pt x="1021580" y="0"/>
                </a:lnTo>
                <a:lnTo>
                  <a:pt x="984797" y="0"/>
                </a:lnTo>
                <a:lnTo>
                  <a:pt x="400597" y="0"/>
                </a:lnTo>
                <a:lnTo>
                  <a:pt x="387936" y="0"/>
                </a:lnTo>
                <a:lnTo>
                  <a:pt x="0" y="0"/>
                </a:lnTo>
                <a:lnTo>
                  <a:pt x="0" y="6858000"/>
                </a:lnTo>
                <a:lnTo>
                  <a:pt x="387936" y="6858000"/>
                </a:lnTo>
                <a:lnTo>
                  <a:pt x="400597" y="6858000"/>
                </a:lnTo>
                <a:lnTo>
                  <a:pt x="984797" y="6858000"/>
                </a:lnTo>
                <a:lnTo>
                  <a:pt x="1021580" y="6858000"/>
                </a:lnTo>
                <a:lnTo>
                  <a:pt x="1605780" y="6858000"/>
                </a:lnTo>
                <a:lnTo>
                  <a:pt x="1672286" y="6858000"/>
                </a:lnTo>
                <a:lnTo>
                  <a:pt x="2256486" y="6858000"/>
                </a:lnTo>
                <a:lnTo>
                  <a:pt x="4427892" y="6858000"/>
                </a:lnTo>
                <a:lnTo>
                  <a:pt x="5012092" y="6858000"/>
                </a:lnTo>
                <a:lnTo>
                  <a:pt x="5229201" y="6858000"/>
                </a:lnTo>
                <a:lnTo>
                  <a:pt x="5645736" y="6858000"/>
                </a:lnTo>
                <a:lnTo>
                  <a:pt x="5813401" y="6858000"/>
                </a:lnTo>
                <a:lnTo>
                  <a:pt x="6229936" y="6858000"/>
                </a:lnTo>
                <a:lnTo>
                  <a:pt x="6500890" y="6858000"/>
                </a:lnTo>
                <a:lnTo>
                  <a:pt x="7085090" y="6858000"/>
                </a:lnTo>
                <a:cubicBezTo>
                  <a:pt x="6673737" y="5914390"/>
                  <a:pt x="6476760" y="4830382"/>
                  <a:pt x="6476760" y="3673539"/>
                </a:cubicBezTo>
                <a:lnTo>
                  <a:pt x="6476823" y="3673602"/>
                </a:lnTo>
                <a:lnTo>
                  <a:pt x="6476823" y="3200781"/>
                </a:lnTo>
                <a:cubicBezTo>
                  <a:pt x="6476823" y="2012442"/>
                  <a:pt x="6662751" y="930529"/>
                  <a:pt x="7050546" y="0"/>
                </a:cubicBezTo>
                <a:close/>
              </a:path>
            </a:pathLst>
          </a:custGeom>
          <a:solidFill>
            <a:srgbClr val="F0DCE1"/>
          </a:solidFill>
          <a:ln w="6342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873B1AF-E942-4FBB-9EBB-06400C0B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6"/>
            <a:ext cx="3420000" cy="72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F02A0AE-4C86-7864-D2C0-EA6CF38FB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0A99DA5-948B-F5FB-5380-7DC45C26B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3DAD73C-35FE-B009-50EF-DFBF6647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A91761D4-8CB9-110E-94FC-08464B87C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95552" y="458684"/>
            <a:ext cx="159545" cy="159545"/>
          </a:xfrm>
          <a:custGeom>
            <a:avLst/>
            <a:gdLst>
              <a:gd name="connsiteX0" fmla="*/ 76495 w 159545"/>
              <a:gd name="connsiteY0" fmla="*/ 0 h 159545"/>
              <a:gd name="connsiteX1" fmla="*/ 82910 w 159545"/>
              <a:gd name="connsiteY1" fmla="*/ 0 h 159545"/>
              <a:gd name="connsiteX2" fmla="*/ 159545 w 159545"/>
              <a:gd name="connsiteY2" fmla="*/ 76564 h 159545"/>
              <a:gd name="connsiteX3" fmla="*/ 159545 w 159545"/>
              <a:gd name="connsiteY3" fmla="*/ 82980 h 159545"/>
              <a:gd name="connsiteX4" fmla="*/ 82980 w 159545"/>
              <a:gd name="connsiteY4" fmla="*/ 159545 h 159545"/>
              <a:gd name="connsiteX5" fmla="*/ 76564 w 159545"/>
              <a:gd name="connsiteY5" fmla="*/ 159545 h 159545"/>
              <a:gd name="connsiteX6" fmla="*/ 0 w 159545"/>
              <a:gd name="connsiteY6" fmla="*/ 82980 h 159545"/>
              <a:gd name="connsiteX7" fmla="*/ 0 w 159545"/>
              <a:gd name="connsiteY7" fmla="*/ 76564 h 159545"/>
              <a:gd name="connsiteX8" fmla="*/ 76495 w 159545"/>
              <a:gd name="connsiteY8" fmla="*/ 0 h 1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545" h="159545">
                <a:moveTo>
                  <a:pt x="76495" y="0"/>
                </a:moveTo>
                <a:lnTo>
                  <a:pt x="82910" y="0"/>
                </a:lnTo>
                <a:cubicBezTo>
                  <a:pt x="132210" y="0"/>
                  <a:pt x="159475" y="27196"/>
                  <a:pt x="159545" y="76564"/>
                </a:cubicBezTo>
                <a:lnTo>
                  <a:pt x="159545" y="82980"/>
                </a:lnTo>
                <a:cubicBezTo>
                  <a:pt x="159545" y="132350"/>
                  <a:pt x="132280" y="159545"/>
                  <a:pt x="82980" y="159545"/>
                </a:cubicBezTo>
                <a:lnTo>
                  <a:pt x="76564" y="159545"/>
                </a:lnTo>
                <a:cubicBezTo>
                  <a:pt x="27195" y="159545"/>
                  <a:pt x="0" y="132280"/>
                  <a:pt x="0" y="82980"/>
                </a:cubicBezTo>
                <a:lnTo>
                  <a:pt x="0" y="76564"/>
                </a:lnTo>
                <a:cubicBezTo>
                  <a:pt x="0" y="27196"/>
                  <a:pt x="27195" y="0"/>
                  <a:pt x="7649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1" name="Espace réservé du graphique 10">
            <a:extLst>
              <a:ext uri="{FF2B5EF4-FFF2-40B4-BE49-F238E27FC236}">
                <a16:creationId xmlns:a16="http://schemas.microsoft.com/office/drawing/2014/main" id="{D7C8A4F2-4CFF-1061-BBBE-3EE9C05C509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548510" y="1849901"/>
            <a:ext cx="4680000" cy="360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1D02D0B3-6FA2-BEBF-D2FA-388B58331A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6238" y="1092200"/>
            <a:ext cx="3419475" cy="10810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B8F263B0-DD5C-0C53-53A3-DD9A20003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36958" y="1092200"/>
            <a:ext cx="3419475" cy="10810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du graphique 10">
            <a:extLst>
              <a:ext uri="{FF2B5EF4-FFF2-40B4-BE49-F238E27FC236}">
                <a16:creationId xmlns:a16="http://schemas.microsoft.com/office/drawing/2014/main" id="{4242467F-A53C-A7AB-88CA-EC31714C9171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79827" y="1849899"/>
            <a:ext cx="4320000" cy="43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192054B8-B618-6FB4-6C21-2D0CE1B801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6164" y="390526"/>
            <a:ext cx="3420000" cy="720000"/>
          </a:xfrm>
        </p:spPr>
        <p:txBody>
          <a:bodyPr/>
          <a:lstStyle>
            <a:lvl1pPr>
              <a:defRPr lang="fr-FR" sz="2400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Cliquez pour modifier le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DEC0100-2152-8FB4-F079-A161DCD383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1969" y="5578542"/>
            <a:ext cx="146710" cy="813630"/>
          </a:xfrm>
          <a:custGeom>
            <a:avLst/>
            <a:gdLst>
              <a:gd name="connsiteX0" fmla="*/ 73976 w 146710"/>
              <a:gd name="connsiteY0" fmla="*/ 665717 h 813630"/>
              <a:gd name="connsiteX1" fmla="*/ 142044 w 146710"/>
              <a:gd name="connsiteY1" fmla="*/ 665717 h 813630"/>
              <a:gd name="connsiteX2" fmla="*/ 146694 w 146710"/>
              <a:gd name="connsiteY2" fmla="*/ 687332 h 813630"/>
              <a:gd name="connsiteX3" fmla="*/ 146694 w 146710"/>
              <a:gd name="connsiteY3" fmla="*/ 690313 h 813630"/>
              <a:gd name="connsiteX4" fmla="*/ 142054 w 146710"/>
              <a:gd name="connsiteY4" fmla="*/ 712506 h 813630"/>
              <a:gd name="connsiteX5" fmla="*/ 72524 w 146710"/>
              <a:gd name="connsiteY5" fmla="*/ 712506 h 813630"/>
              <a:gd name="connsiteX6" fmla="*/ 54682 w 146710"/>
              <a:gd name="connsiteY6" fmla="*/ 717549 h 813630"/>
              <a:gd name="connsiteX7" fmla="*/ 43704 w 146710"/>
              <a:gd name="connsiteY7" fmla="*/ 736077 h 813630"/>
              <a:gd name="connsiteX8" fmla="*/ 49110 w 146710"/>
              <a:gd name="connsiteY8" fmla="*/ 756419 h 813630"/>
              <a:gd name="connsiteX9" fmla="*/ 72526 w 146710"/>
              <a:gd name="connsiteY9" fmla="*/ 766914 h 813630"/>
              <a:gd name="connsiteX10" fmla="*/ 142070 w 146710"/>
              <a:gd name="connsiteY10" fmla="*/ 766914 h 813630"/>
              <a:gd name="connsiteX11" fmla="*/ 146694 w 146710"/>
              <a:gd name="connsiteY11" fmla="*/ 788484 h 813630"/>
              <a:gd name="connsiteX12" fmla="*/ 146694 w 146710"/>
              <a:gd name="connsiteY12" fmla="*/ 791465 h 813630"/>
              <a:gd name="connsiteX13" fmla="*/ 142048 w 146710"/>
              <a:gd name="connsiteY13" fmla="*/ 813630 h 813630"/>
              <a:gd name="connsiteX14" fmla="*/ 7152 w 146710"/>
              <a:gd name="connsiteY14" fmla="*/ 813630 h 813630"/>
              <a:gd name="connsiteX15" fmla="*/ 2502 w 146710"/>
              <a:gd name="connsiteY15" fmla="*/ 792058 h 813630"/>
              <a:gd name="connsiteX16" fmla="*/ 2502 w 146710"/>
              <a:gd name="connsiteY16" fmla="*/ 789082 h 813630"/>
              <a:gd name="connsiteX17" fmla="*/ 7152 w 146710"/>
              <a:gd name="connsiteY17" fmla="*/ 769096 h 813630"/>
              <a:gd name="connsiteX18" fmla="*/ 0 w 146710"/>
              <a:gd name="connsiteY18" fmla="*/ 739697 h 813630"/>
              <a:gd name="connsiteX19" fmla="*/ 19462 w 146710"/>
              <a:gd name="connsiteY19" fmla="*/ 686394 h 813630"/>
              <a:gd name="connsiteX20" fmla="*/ 73976 w 146710"/>
              <a:gd name="connsiteY20" fmla="*/ 665717 h 813630"/>
              <a:gd name="connsiteX21" fmla="*/ 56758 w 146710"/>
              <a:gd name="connsiteY21" fmla="*/ 549329 h 813630"/>
              <a:gd name="connsiteX22" fmla="*/ 55556 w 146710"/>
              <a:gd name="connsiteY22" fmla="*/ 549652 h 813630"/>
              <a:gd name="connsiteX23" fmla="*/ 34850 w 146710"/>
              <a:gd name="connsiteY23" fmla="*/ 575028 h 813630"/>
              <a:gd name="connsiteX24" fmla="*/ 34852 w 146710"/>
              <a:gd name="connsiteY24" fmla="*/ 575028 h 813630"/>
              <a:gd name="connsiteX25" fmla="*/ 55522 w 146710"/>
              <a:gd name="connsiteY25" fmla="*/ 599812 h 813630"/>
              <a:gd name="connsiteX26" fmla="*/ 56758 w 146710"/>
              <a:gd name="connsiteY26" fmla="*/ 600193 h 813630"/>
              <a:gd name="connsiteX27" fmla="*/ 76756 w 146710"/>
              <a:gd name="connsiteY27" fmla="*/ 502939 h 813630"/>
              <a:gd name="connsiteX28" fmla="*/ 86036 w 146710"/>
              <a:gd name="connsiteY28" fmla="*/ 503143 h 813630"/>
              <a:gd name="connsiteX29" fmla="*/ 86036 w 146710"/>
              <a:gd name="connsiteY29" fmla="*/ 600731 h 813630"/>
              <a:gd name="connsiteX30" fmla="*/ 87226 w 146710"/>
              <a:gd name="connsiteY30" fmla="*/ 600426 h 813630"/>
              <a:gd name="connsiteX31" fmla="*/ 111314 w 146710"/>
              <a:gd name="connsiteY31" fmla="*/ 568044 h 813630"/>
              <a:gd name="connsiteX32" fmla="*/ 96968 w 146710"/>
              <a:gd name="connsiteY32" fmla="*/ 535497 h 813630"/>
              <a:gd name="connsiteX33" fmla="*/ 104390 w 146710"/>
              <a:gd name="connsiteY33" fmla="*/ 520952 h 813630"/>
              <a:gd name="connsiteX34" fmla="*/ 105786 w 146710"/>
              <a:gd name="connsiteY34" fmla="*/ 519226 h 813630"/>
              <a:gd name="connsiteX35" fmla="*/ 118614 w 146710"/>
              <a:gd name="connsiteY35" fmla="*/ 508730 h 813630"/>
              <a:gd name="connsiteX36" fmla="*/ 146670 w 146710"/>
              <a:gd name="connsiteY36" fmla="*/ 570459 h 813630"/>
              <a:gd name="connsiteX37" fmla="*/ 146672 w 146710"/>
              <a:gd name="connsiteY37" fmla="*/ 570459 h 813630"/>
              <a:gd name="connsiteX38" fmla="*/ 73870 w 146710"/>
              <a:gd name="connsiteY38" fmla="*/ 647384 h 813630"/>
              <a:gd name="connsiteX39" fmla="*/ 73344 w 146710"/>
              <a:gd name="connsiteY39" fmla="*/ 647384 h 813630"/>
              <a:gd name="connsiteX40" fmla="*/ 18 w 146710"/>
              <a:gd name="connsiteY40" fmla="*/ 575028 h 813630"/>
              <a:gd name="connsiteX41" fmla="*/ 22866 w 146710"/>
              <a:gd name="connsiteY41" fmla="*/ 520512 h 813630"/>
              <a:gd name="connsiteX42" fmla="*/ 76756 w 146710"/>
              <a:gd name="connsiteY42" fmla="*/ 502939 h 813630"/>
              <a:gd name="connsiteX43" fmla="*/ 146710 w 146710"/>
              <a:gd name="connsiteY43" fmla="*/ 457539 h 813630"/>
              <a:gd name="connsiteX44" fmla="*/ 146710 w 146710"/>
              <a:gd name="connsiteY44" fmla="*/ 457541 h 813630"/>
              <a:gd name="connsiteX45" fmla="*/ 146708 w 146710"/>
              <a:gd name="connsiteY45" fmla="*/ 457540 h 813630"/>
              <a:gd name="connsiteX46" fmla="*/ 113678 w 146710"/>
              <a:gd name="connsiteY46" fmla="*/ 343882 h 813630"/>
              <a:gd name="connsiteX47" fmla="*/ 132216 w 146710"/>
              <a:gd name="connsiteY47" fmla="*/ 355848 h 813630"/>
              <a:gd name="connsiteX48" fmla="*/ 134320 w 146710"/>
              <a:gd name="connsiteY48" fmla="*/ 357951 h 813630"/>
              <a:gd name="connsiteX49" fmla="*/ 146704 w 146710"/>
              <a:gd name="connsiteY49" fmla="*/ 376907 h 813630"/>
              <a:gd name="connsiteX50" fmla="*/ 106460 w 146710"/>
              <a:gd name="connsiteY50" fmla="*/ 417225 h 813630"/>
              <a:gd name="connsiteX51" fmla="*/ 146708 w 146710"/>
              <a:gd name="connsiteY51" fmla="*/ 457540 h 813630"/>
              <a:gd name="connsiteX52" fmla="*/ 134744 w 146710"/>
              <a:gd name="connsiteY52" fmla="*/ 476076 h 813630"/>
              <a:gd name="connsiteX53" fmla="*/ 132640 w 146710"/>
              <a:gd name="connsiteY53" fmla="*/ 478179 h 813630"/>
              <a:gd name="connsiteX54" fmla="*/ 113682 w 146710"/>
              <a:gd name="connsiteY54" fmla="*/ 490566 h 813630"/>
              <a:gd name="connsiteX55" fmla="*/ 82780 w 146710"/>
              <a:gd name="connsiteY55" fmla="*/ 459233 h 813630"/>
              <a:gd name="connsiteX56" fmla="*/ 63944 w 146710"/>
              <a:gd name="connsiteY56" fmla="*/ 459233 h 813630"/>
              <a:gd name="connsiteX57" fmla="*/ 33050 w 146710"/>
              <a:gd name="connsiteY57" fmla="*/ 490564 h 813630"/>
              <a:gd name="connsiteX58" fmla="*/ 14512 w 146710"/>
              <a:gd name="connsiteY58" fmla="*/ 478604 h 813630"/>
              <a:gd name="connsiteX59" fmla="*/ 12408 w 146710"/>
              <a:gd name="connsiteY59" fmla="*/ 476501 h 813630"/>
              <a:gd name="connsiteX60" fmla="*/ 24 w 146710"/>
              <a:gd name="connsiteY60" fmla="*/ 457542 h 813630"/>
              <a:gd name="connsiteX61" fmla="*/ 40268 w 146710"/>
              <a:gd name="connsiteY61" fmla="*/ 417225 h 813630"/>
              <a:gd name="connsiteX62" fmla="*/ 18 w 146710"/>
              <a:gd name="connsiteY62" fmla="*/ 376905 h 813630"/>
              <a:gd name="connsiteX63" fmla="*/ 11984 w 146710"/>
              <a:gd name="connsiteY63" fmla="*/ 358373 h 813630"/>
              <a:gd name="connsiteX64" fmla="*/ 14088 w 146710"/>
              <a:gd name="connsiteY64" fmla="*/ 356270 h 813630"/>
              <a:gd name="connsiteX65" fmla="*/ 33046 w 146710"/>
              <a:gd name="connsiteY65" fmla="*/ 343885 h 813630"/>
              <a:gd name="connsiteX66" fmla="*/ 63946 w 146710"/>
              <a:gd name="connsiteY66" fmla="*/ 375237 h 813630"/>
              <a:gd name="connsiteX67" fmla="*/ 82780 w 146710"/>
              <a:gd name="connsiteY67" fmla="*/ 375237 h 813630"/>
              <a:gd name="connsiteX68" fmla="*/ 4666 w 146710"/>
              <a:gd name="connsiteY68" fmla="*/ 272842 h 813630"/>
              <a:gd name="connsiteX69" fmla="*/ 142046 w 146710"/>
              <a:gd name="connsiteY69" fmla="*/ 272842 h 813630"/>
              <a:gd name="connsiteX70" fmla="*/ 146694 w 146710"/>
              <a:gd name="connsiteY70" fmla="*/ 294453 h 813630"/>
              <a:gd name="connsiteX71" fmla="*/ 146694 w 146710"/>
              <a:gd name="connsiteY71" fmla="*/ 297433 h 813630"/>
              <a:gd name="connsiteX72" fmla="*/ 146696 w 146710"/>
              <a:gd name="connsiteY72" fmla="*/ 297433 h 813630"/>
              <a:gd name="connsiteX73" fmla="*/ 142048 w 146710"/>
              <a:gd name="connsiteY73" fmla="*/ 319641 h 813630"/>
              <a:gd name="connsiteX74" fmla="*/ 4666 w 146710"/>
              <a:gd name="connsiteY74" fmla="*/ 319641 h 813630"/>
              <a:gd name="connsiteX75" fmla="*/ 18 w 146710"/>
              <a:gd name="connsiteY75" fmla="*/ 298030 h 813630"/>
              <a:gd name="connsiteX76" fmla="*/ 18 w 146710"/>
              <a:gd name="connsiteY76" fmla="*/ 295050 h 813630"/>
              <a:gd name="connsiteX77" fmla="*/ 4666 w 146710"/>
              <a:gd name="connsiteY77" fmla="*/ 272842 h 813630"/>
              <a:gd name="connsiteX78" fmla="*/ 121584 w 146710"/>
              <a:gd name="connsiteY78" fmla="*/ 140251 h 813630"/>
              <a:gd name="connsiteX79" fmla="*/ 124554 w 146710"/>
              <a:gd name="connsiteY79" fmla="*/ 140251 h 813630"/>
              <a:gd name="connsiteX80" fmla="*/ 146706 w 146710"/>
              <a:gd name="connsiteY80" fmla="*/ 144886 h 813630"/>
              <a:gd name="connsiteX81" fmla="*/ 146706 w 146710"/>
              <a:gd name="connsiteY81" fmla="*/ 179666 h 813630"/>
              <a:gd name="connsiteX82" fmla="*/ 82882 w 146710"/>
              <a:gd name="connsiteY82" fmla="*/ 244561 h 813630"/>
              <a:gd name="connsiteX83" fmla="*/ 4688 w 146710"/>
              <a:gd name="connsiteY83" fmla="*/ 244561 h 813630"/>
              <a:gd name="connsiteX84" fmla="*/ 52 w 146710"/>
              <a:gd name="connsiteY84" fmla="*/ 223006 h 813630"/>
              <a:gd name="connsiteX85" fmla="*/ 52 w 146710"/>
              <a:gd name="connsiteY85" fmla="*/ 220034 h 813630"/>
              <a:gd name="connsiteX86" fmla="*/ 4688 w 146710"/>
              <a:gd name="connsiteY86" fmla="*/ 197884 h 813630"/>
              <a:gd name="connsiteX87" fmla="*/ 23344 w 146710"/>
              <a:gd name="connsiteY87" fmla="*/ 197884 h 813630"/>
              <a:gd name="connsiteX88" fmla="*/ 23344 w 146710"/>
              <a:gd name="connsiteY88" fmla="*/ 164961 h 813630"/>
              <a:gd name="connsiteX89" fmla="*/ 44900 w 146710"/>
              <a:gd name="connsiteY89" fmla="*/ 160325 h 813630"/>
              <a:gd name="connsiteX90" fmla="*/ 47872 w 146710"/>
              <a:gd name="connsiteY90" fmla="*/ 160325 h 813630"/>
              <a:gd name="connsiteX91" fmla="*/ 70024 w 146710"/>
              <a:gd name="connsiteY91" fmla="*/ 164962 h 813630"/>
              <a:gd name="connsiteX92" fmla="*/ 70024 w 146710"/>
              <a:gd name="connsiteY92" fmla="*/ 197886 h 813630"/>
              <a:gd name="connsiteX93" fmla="*/ 81812 w 146710"/>
              <a:gd name="connsiteY93" fmla="*/ 197886 h 813630"/>
              <a:gd name="connsiteX94" fmla="*/ 100028 w 146710"/>
              <a:gd name="connsiteY94" fmla="*/ 179670 h 813630"/>
              <a:gd name="connsiteX95" fmla="*/ 100028 w 146710"/>
              <a:gd name="connsiteY95" fmla="*/ 144886 h 813630"/>
              <a:gd name="connsiteX96" fmla="*/ 121584 w 146710"/>
              <a:gd name="connsiteY96" fmla="*/ 140251 h 813630"/>
              <a:gd name="connsiteX97" fmla="*/ 33098 w 146710"/>
              <a:gd name="connsiteY97" fmla="*/ 0 h 813630"/>
              <a:gd name="connsiteX98" fmla="*/ 74608 w 146710"/>
              <a:gd name="connsiteY98" fmla="*/ 41508 h 813630"/>
              <a:gd name="connsiteX99" fmla="*/ 94970 w 146710"/>
              <a:gd name="connsiteY99" fmla="*/ 49943 h 813630"/>
              <a:gd name="connsiteX100" fmla="*/ 142046 w 146710"/>
              <a:gd name="connsiteY100" fmla="*/ 49943 h 813630"/>
              <a:gd name="connsiteX101" fmla="*/ 146692 w 146710"/>
              <a:gd name="connsiteY101" fmla="*/ 71547 h 813630"/>
              <a:gd name="connsiteX102" fmla="*/ 146692 w 146710"/>
              <a:gd name="connsiteY102" fmla="*/ 74526 h 813630"/>
              <a:gd name="connsiteX103" fmla="*/ 146694 w 146710"/>
              <a:gd name="connsiteY103" fmla="*/ 74526 h 813630"/>
              <a:gd name="connsiteX104" fmla="*/ 142048 w 146710"/>
              <a:gd name="connsiteY104" fmla="*/ 96728 h 813630"/>
              <a:gd name="connsiteX105" fmla="*/ 94974 w 146710"/>
              <a:gd name="connsiteY105" fmla="*/ 96728 h 813630"/>
              <a:gd name="connsiteX106" fmla="*/ 74610 w 146710"/>
              <a:gd name="connsiteY106" fmla="*/ 105164 h 813630"/>
              <a:gd name="connsiteX107" fmla="*/ 33102 w 146710"/>
              <a:gd name="connsiteY107" fmla="*/ 146674 h 813630"/>
              <a:gd name="connsiteX108" fmla="*/ 14520 w 146710"/>
              <a:gd name="connsiteY108" fmla="*/ 134696 h 813630"/>
              <a:gd name="connsiteX109" fmla="*/ 12420 w 146710"/>
              <a:gd name="connsiteY109" fmla="*/ 132593 h 813630"/>
              <a:gd name="connsiteX110" fmla="*/ 20 w 146710"/>
              <a:gd name="connsiteY110" fmla="*/ 113590 h 813630"/>
              <a:gd name="connsiteX111" fmla="*/ 40272 w 146710"/>
              <a:gd name="connsiteY111" fmla="*/ 73336 h 813630"/>
              <a:gd name="connsiteX112" fmla="*/ 16 w 146710"/>
              <a:gd name="connsiteY112" fmla="*/ 33082 h 813630"/>
              <a:gd name="connsiteX113" fmla="*/ 11994 w 146710"/>
              <a:gd name="connsiteY113" fmla="*/ 14502 h 813630"/>
              <a:gd name="connsiteX114" fmla="*/ 14094 w 146710"/>
              <a:gd name="connsiteY114" fmla="*/ 12399 h 813630"/>
              <a:gd name="connsiteX115" fmla="*/ 33098 w 146710"/>
              <a:gd name="connsiteY115" fmla="*/ 0 h 8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46710" h="813630">
                <a:moveTo>
                  <a:pt x="73976" y="665717"/>
                </a:moveTo>
                <a:lnTo>
                  <a:pt x="142044" y="665717"/>
                </a:lnTo>
                <a:cubicBezTo>
                  <a:pt x="145128" y="671840"/>
                  <a:pt x="146694" y="679110"/>
                  <a:pt x="146694" y="687332"/>
                </a:cubicBezTo>
                <a:lnTo>
                  <a:pt x="146694" y="690313"/>
                </a:lnTo>
                <a:cubicBezTo>
                  <a:pt x="146694" y="698912"/>
                  <a:pt x="145132" y="706375"/>
                  <a:pt x="142054" y="712506"/>
                </a:cubicBezTo>
                <a:cubicBezTo>
                  <a:pt x="119782" y="712486"/>
                  <a:pt x="94848" y="712508"/>
                  <a:pt x="72524" y="712506"/>
                </a:cubicBezTo>
                <a:cubicBezTo>
                  <a:pt x="66096" y="712506"/>
                  <a:pt x="60038" y="713826"/>
                  <a:pt x="54682" y="717549"/>
                </a:cubicBezTo>
                <a:cubicBezTo>
                  <a:pt x="48218" y="722045"/>
                  <a:pt x="44586" y="728268"/>
                  <a:pt x="43704" y="736077"/>
                </a:cubicBezTo>
                <a:cubicBezTo>
                  <a:pt x="42862" y="743553"/>
                  <a:pt x="44456" y="750426"/>
                  <a:pt x="49110" y="756419"/>
                </a:cubicBezTo>
                <a:cubicBezTo>
                  <a:pt x="55128" y="764169"/>
                  <a:pt x="63476" y="766898"/>
                  <a:pt x="72526" y="766914"/>
                </a:cubicBezTo>
                <a:cubicBezTo>
                  <a:pt x="94678" y="766950"/>
                  <a:pt x="119964" y="766943"/>
                  <a:pt x="142070" y="766914"/>
                </a:cubicBezTo>
                <a:cubicBezTo>
                  <a:pt x="145138" y="773028"/>
                  <a:pt x="146694" y="780282"/>
                  <a:pt x="146694" y="788484"/>
                </a:cubicBezTo>
                <a:lnTo>
                  <a:pt x="146694" y="791465"/>
                </a:lnTo>
                <a:cubicBezTo>
                  <a:pt x="146694" y="800070"/>
                  <a:pt x="145132" y="807493"/>
                  <a:pt x="142048" y="813630"/>
                </a:cubicBezTo>
                <a:lnTo>
                  <a:pt x="7152" y="813630"/>
                </a:lnTo>
                <a:cubicBezTo>
                  <a:pt x="4066" y="807516"/>
                  <a:pt x="2504" y="800263"/>
                  <a:pt x="2502" y="792058"/>
                </a:cubicBezTo>
                <a:lnTo>
                  <a:pt x="2502" y="789082"/>
                </a:lnTo>
                <a:cubicBezTo>
                  <a:pt x="2502" y="777950"/>
                  <a:pt x="7152" y="769096"/>
                  <a:pt x="7152" y="769096"/>
                </a:cubicBezTo>
                <a:cubicBezTo>
                  <a:pt x="3196" y="759880"/>
                  <a:pt x="0" y="749781"/>
                  <a:pt x="0" y="739697"/>
                </a:cubicBezTo>
                <a:cubicBezTo>
                  <a:pt x="0" y="719661"/>
                  <a:pt x="4486" y="701674"/>
                  <a:pt x="19462" y="686394"/>
                </a:cubicBezTo>
                <a:cubicBezTo>
                  <a:pt x="32742" y="672849"/>
                  <a:pt x="53578" y="666162"/>
                  <a:pt x="73976" y="665717"/>
                </a:cubicBezTo>
                <a:close/>
                <a:moveTo>
                  <a:pt x="56758" y="549329"/>
                </a:moveTo>
                <a:lnTo>
                  <a:pt x="55556" y="549652"/>
                </a:lnTo>
                <a:cubicBezTo>
                  <a:pt x="42590" y="553130"/>
                  <a:pt x="34850" y="562617"/>
                  <a:pt x="34850" y="575028"/>
                </a:cubicBezTo>
                <a:lnTo>
                  <a:pt x="34852" y="575028"/>
                </a:lnTo>
                <a:cubicBezTo>
                  <a:pt x="34852" y="586897"/>
                  <a:pt x="42192" y="595699"/>
                  <a:pt x="55522" y="599812"/>
                </a:cubicBezTo>
                <a:lnTo>
                  <a:pt x="56758" y="600193"/>
                </a:lnTo>
                <a:close/>
                <a:moveTo>
                  <a:pt x="76756" y="502939"/>
                </a:moveTo>
                <a:cubicBezTo>
                  <a:pt x="79662" y="502939"/>
                  <a:pt x="82922" y="502939"/>
                  <a:pt x="86036" y="503143"/>
                </a:cubicBezTo>
                <a:lnTo>
                  <a:pt x="86036" y="600731"/>
                </a:lnTo>
                <a:lnTo>
                  <a:pt x="87226" y="600426"/>
                </a:lnTo>
                <a:cubicBezTo>
                  <a:pt x="102984" y="596394"/>
                  <a:pt x="111314" y="585196"/>
                  <a:pt x="111314" y="568044"/>
                </a:cubicBezTo>
                <a:cubicBezTo>
                  <a:pt x="111314" y="555504"/>
                  <a:pt x="107150" y="546041"/>
                  <a:pt x="96968" y="535497"/>
                </a:cubicBezTo>
                <a:cubicBezTo>
                  <a:pt x="98090" y="530544"/>
                  <a:pt x="100586" y="525653"/>
                  <a:pt x="104390" y="520952"/>
                </a:cubicBezTo>
                <a:lnTo>
                  <a:pt x="105786" y="519226"/>
                </a:lnTo>
                <a:cubicBezTo>
                  <a:pt x="109760" y="514320"/>
                  <a:pt x="114072" y="510792"/>
                  <a:pt x="118614" y="508730"/>
                </a:cubicBezTo>
                <a:cubicBezTo>
                  <a:pt x="137492" y="523924"/>
                  <a:pt x="146670" y="544123"/>
                  <a:pt x="146670" y="570459"/>
                </a:cubicBezTo>
                <a:lnTo>
                  <a:pt x="146672" y="570459"/>
                </a:lnTo>
                <a:cubicBezTo>
                  <a:pt x="146672" y="615751"/>
                  <a:pt x="116736" y="647384"/>
                  <a:pt x="73870" y="647384"/>
                </a:cubicBezTo>
                <a:lnTo>
                  <a:pt x="73344" y="647384"/>
                </a:lnTo>
                <a:cubicBezTo>
                  <a:pt x="31542" y="647384"/>
                  <a:pt x="18" y="616277"/>
                  <a:pt x="18" y="575028"/>
                </a:cubicBezTo>
                <a:cubicBezTo>
                  <a:pt x="18" y="552012"/>
                  <a:pt x="7916" y="533161"/>
                  <a:pt x="22866" y="520512"/>
                </a:cubicBezTo>
                <a:cubicBezTo>
                  <a:pt x="36452" y="509015"/>
                  <a:pt x="55088" y="502939"/>
                  <a:pt x="76756" y="502939"/>
                </a:cubicBezTo>
                <a:close/>
                <a:moveTo>
                  <a:pt x="146710" y="457539"/>
                </a:moveTo>
                <a:lnTo>
                  <a:pt x="146710" y="457541"/>
                </a:lnTo>
                <a:lnTo>
                  <a:pt x="146708" y="457540"/>
                </a:lnTo>
                <a:close/>
                <a:moveTo>
                  <a:pt x="113678" y="343882"/>
                </a:moveTo>
                <a:cubicBezTo>
                  <a:pt x="120178" y="346021"/>
                  <a:pt x="126412" y="350044"/>
                  <a:pt x="132216" y="355848"/>
                </a:cubicBezTo>
                <a:lnTo>
                  <a:pt x="134320" y="357951"/>
                </a:lnTo>
                <a:cubicBezTo>
                  <a:pt x="140390" y="364020"/>
                  <a:pt x="144554" y="370394"/>
                  <a:pt x="146704" y="376907"/>
                </a:cubicBezTo>
                <a:lnTo>
                  <a:pt x="106460" y="417225"/>
                </a:lnTo>
                <a:lnTo>
                  <a:pt x="146708" y="457540"/>
                </a:lnTo>
                <a:lnTo>
                  <a:pt x="134744" y="476076"/>
                </a:lnTo>
                <a:lnTo>
                  <a:pt x="132640" y="478179"/>
                </a:lnTo>
                <a:cubicBezTo>
                  <a:pt x="126568" y="484252"/>
                  <a:pt x="120194" y="488416"/>
                  <a:pt x="113682" y="490566"/>
                </a:cubicBezTo>
                <a:lnTo>
                  <a:pt x="82780" y="459233"/>
                </a:lnTo>
                <a:cubicBezTo>
                  <a:pt x="77578" y="454039"/>
                  <a:pt x="69146" y="454039"/>
                  <a:pt x="63944" y="459233"/>
                </a:cubicBezTo>
                <a:lnTo>
                  <a:pt x="33050" y="490564"/>
                </a:lnTo>
                <a:cubicBezTo>
                  <a:pt x="26550" y="488425"/>
                  <a:pt x="20316" y="484405"/>
                  <a:pt x="14512" y="478604"/>
                </a:cubicBezTo>
                <a:lnTo>
                  <a:pt x="12408" y="476501"/>
                </a:lnTo>
                <a:cubicBezTo>
                  <a:pt x="6336" y="470428"/>
                  <a:pt x="2170" y="464053"/>
                  <a:pt x="24" y="457542"/>
                </a:cubicBezTo>
                <a:lnTo>
                  <a:pt x="40268" y="417225"/>
                </a:lnTo>
                <a:lnTo>
                  <a:pt x="18" y="376905"/>
                </a:lnTo>
                <a:cubicBezTo>
                  <a:pt x="2156" y="370405"/>
                  <a:pt x="6180" y="364177"/>
                  <a:pt x="11984" y="358373"/>
                </a:cubicBezTo>
                <a:lnTo>
                  <a:pt x="14088" y="356270"/>
                </a:lnTo>
                <a:cubicBezTo>
                  <a:pt x="20160" y="350198"/>
                  <a:pt x="26534" y="346033"/>
                  <a:pt x="33046" y="343885"/>
                </a:cubicBezTo>
                <a:lnTo>
                  <a:pt x="63946" y="375237"/>
                </a:lnTo>
                <a:cubicBezTo>
                  <a:pt x="69148" y="380432"/>
                  <a:pt x="77578" y="380432"/>
                  <a:pt x="82780" y="375237"/>
                </a:cubicBezTo>
                <a:close/>
                <a:moveTo>
                  <a:pt x="4666" y="272842"/>
                </a:moveTo>
                <a:lnTo>
                  <a:pt x="142046" y="272842"/>
                </a:lnTo>
                <a:cubicBezTo>
                  <a:pt x="145130" y="278963"/>
                  <a:pt x="146694" y="286231"/>
                  <a:pt x="146694" y="294453"/>
                </a:cubicBezTo>
                <a:lnTo>
                  <a:pt x="146694" y="297433"/>
                </a:lnTo>
                <a:lnTo>
                  <a:pt x="146696" y="297433"/>
                </a:lnTo>
                <a:cubicBezTo>
                  <a:pt x="146696" y="306036"/>
                  <a:pt x="145132" y="313503"/>
                  <a:pt x="142048" y="319641"/>
                </a:cubicBezTo>
                <a:lnTo>
                  <a:pt x="4666" y="319641"/>
                </a:lnTo>
                <a:cubicBezTo>
                  <a:pt x="1584" y="313520"/>
                  <a:pt x="18" y="306252"/>
                  <a:pt x="18" y="298030"/>
                </a:cubicBezTo>
                <a:lnTo>
                  <a:pt x="18" y="295050"/>
                </a:lnTo>
                <a:cubicBezTo>
                  <a:pt x="18" y="286445"/>
                  <a:pt x="1582" y="278976"/>
                  <a:pt x="4666" y="272842"/>
                </a:cubicBezTo>
                <a:close/>
                <a:moveTo>
                  <a:pt x="121584" y="140251"/>
                </a:moveTo>
                <a:lnTo>
                  <a:pt x="124554" y="140251"/>
                </a:lnTo>
                <a:cubicBezTo>
                  <a:pt x="133136" y="140251"/>
                  <a:pt x="140586" y="141810"/>
                  <a:pt x="146706" y="144886"/>
                </a:cubicBezTo>
                <a:lnTo>
                  <a:pt x="146706" y="179666"/>
                </a:lnTo>
                <a:cubicBezTo>
                  <a:pt x="146706" y="215157"/>
                  <a:pt x="117124" y="244561"/>
                  <a:pt x="82882" y="244561"/>
                </a:cubicBezTo>
                <a:lnTo>
                  <a:pt x="4688" y="244561"/>
                </a:lnTo>
                <a:cubicBezTo>
                  <a:pt x="1612" y="238454"/>
                  <a:pt x="52" y="231205"/>
                  <a:pt x="52" y="223006"/>
                </a:cubicBezTo>
                <a:lnTo>
                  <a:pt x="52" y="220034"/>
                </a:lnTo>
                <a:cubicBezTo>
                  <a:pt x="52" y="211453"/>
                  <a:pt x="1612" y="204004"/>
                  <a:pt x="4688" y="197884"/>
                </a:cubicBezTo>
                <a:lnTo>
                  <a:pt x="23344" y="197884"/>
                </a:lnTo>
                <a:lnTo>
                  <a:pt x="23344" y="164961"/>
                </a:lnTo>
                <a:cubicBezTo>
                  <a:pt x="29452" y="161885"/>
                  <a:pt x="36702" y="160325"/>
                  <a:pt x="44900" y="160325"/>
                </a:cubicBezTo>
                <a:lnTo>
                  <a:pt x="47872" y="160325"/>
                </a:lnTo>
                <a:cubicBezTo>
                  <a:pt x="56454" y="160325"/>
                  <a:pt x="63902" y="161885"/>
                  <a:pt x="70024" y="164962"/>
                </a:cubicBezTo>
                <a:lnTo>
                  <a:pt x="70024" y="197886"/>
                </a:lnTo>
                <a:lnTo>
                  <a:pt x="81812" y="197886"/>
                </a:lnTo>
                <a:cubicBezTo>
                  <a:pt x="91856" y="197886"/>
                  <a:pt x="100028" y="189714"/>
                  <a:pt x="100028" y="179670"/>
                </a:cubicBezTo>
                <a:lnTo>
                  <a:pt x="100028" y="144886"/>
                </a:lnTo>
                <a:cubicBezTo>
                  <a:pt x="106136" y="141810"/>
                  <a:pt x="113382" y="140251"/>
                  <a:pt x="121584" y="140251"/>
                </a:cubicBezTo>
                <a:close/>
                <a:moveTo>
                  <a:pt x="33098" y="0"/>
                </a:moveTo>
                <a:lnTo>
                  <a:pt x="74608" y="41508"/>
                </a:lnTo>
                <a:cubicBezTo>
                  <a:pt x="80008" y="46908"/>
                  <a:pt x="87332" y="49943"/>
                  <a:pt x="94970" y="49943"/>
                </a:cubicBezTo>
                <a:lnTo>
                  <a:pt x="142046" y="49943"/>
                </a:lnTo>
                <a:cubicBezTo>
                  <a:pt x="145130" y="56062"/>
                  <a:pt x="146692" y="63328"/>
                  <a:pt x="146692" y="71547"/>
                </a:cubicBezTo>
                <a:lnTo>
                  <a:pt x="146692" y="74526"/>
                </a:lnTo>
                <a:lnTo>
                  <a:pt x="146694" y="74526"/>
                </a:lnTo>
                <a:cubicBezTo>
                  <a:pt x="146694" y="83128"/>
                  <a:pt x="145132" y="90595"/>
                  <a:pt x="142048" y="96728"/>
                </a:cubicBezTo>
                <a:lnTo>
                  <a:pt x="94974" y="96728"/>
                </a:lnTo>
                <a:cubicBezTo>
                  <a:pt x="87336" y="96728"/>
                  <a:pt x="80010" y="99763"/>
                  <a:pt x="74610" y="105164"/>
                </a:cubicBezTo>
                <a:lnTo>
                  <a:pt x="33102" y="146674"/>
                </a:lnTo>
                <a:cubicBezTo>
                  <a:pt x="26586" y="144540"/>
                  <a:pt x="20338" y="140512"/>
                  <a:pt x="14520" y="134696"/>
                </a:cubicBezTo>
                <a:lnTo>
                  <a:pt x="12420" y="132593"/>
                </a:lnTo>
                <a:cubicBezTo>
                  <a:pt x="6334" y="126507"/>
                  <a:pt x="2164" y="120115"/>
                  <a:pt x="20" y="113590"/>
                </a:cubicBezTo>
                <a:lnTo>
                  <a:pt x="40272" y="73336"/>
                </a:lnTo>
                <a:lnTo>
                  <a:pt x="16" y="33082"/>
                </a:lnTo>
                <a:cubicBezTo>
                  <a:pt x="2150" y="26566"/>
                  <a:pt x="6178" y="20318"/>
                  <a:pt x="11994" y="14502"/>
                </a:cubicBezTo>
                <a:lnTo>
                  <a:pt x="14094" y="12399"/>
                </a:lnTo>
                <a:cubicBezTo>
                  <a:pt x="20182" y="6312"/>
                  <a:pt x="26572" y="2144"/>
                  <a:pt x="3309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4258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27E1455C-9031-65B2-22A1-E144B54420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63"/>
            <a:ext cx="1110894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ECC22A5-9C7B-4667-B2B1-C07FB4E24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25" y="1972131"/>
            <a:ext cx="10080000" cy="2880000"/>
          </a:xfrm>
        </p:spPr>
        <p:txBody>
          <a:bodyPr anchor="ctr"/>
          <a:lstStyle>
            <a:lvl1pPr>
              <a:defRPr sz="4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F7C1C40-DCC4-4FC5-ACE5-1F8AA9E6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64196-B23D-4956-A819-C4EA25AC107C}" type="datetimeFigureOut">
              <a:rPr lang="fr-FR" smtClean="0"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A17F93-9F51-471E-871D-FC5B2EB2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C202AC-A1FA-443A-92C6-11FBF8634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B1A2C5BC-E806-A3F4-9C64-00ACBA41B1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11268524" y="5912051"/>
            <a:ext cx="813600" cy="146641"/>
          </a:xfrm>
          <a:prstGeom prst="rect">
            <a:avLst/>
          </a:prstGeom>
        </p:spPr>
      </p:pic>
      <p:sp>
        <p:nvSpPr>
          <p:cNvPr id="7" name="Graphique 9">
            <a:extLst>
              <a:ext uri="{FF2B5EF4-FFF2-40B4-BE49-F238E27FC236}">
                <a16:creationId xmlns:a16="http://schemas.microsoft.com/office/drawing/2014/main" id="{54DBA6DA-C91F-DD45-3F0C-CFBF4C35646F}"/>
              </a:ext>
            </a:extLst>
          </p:cNvPr>
          <p:cNvSpPr/>
          <p:nvPr userDrawn="1"/>
        </p:nvSpPr>
        <p:spPr>
          <a:xfrm>
            <a:off x="11595552" y="458685"/>
            <a:ext cx="159544" cy="159544"/>
          </a:xfrm>
          <a:custGeom>
            <a:avLst/>
            <a:gdLst>
              <a:gd name="connsiteX0" fmla="*/ 0 w 217931"/>
              <a:gd name="connsiteY0" fmla="*/ 104584 h 217931"/>
              <a:gd name="connsiteX1" fmla="*/ 0 w 217931"/>
              <a:gd name="connsiteY1" fmla="*/ 113348 h 217931"/>
              <a:gd name="connsiteX2" fmla="*/ 104584 w 217931"/>
              <a:gd name="connsiteY2" fmla="*/ 217932 h 217931"/>
              <a:gd name="connsiteX3" fmla="*/ 113348 w 217931"/>
              <a:gd name="connsiteY3" fmla="*/ 217932 h 217931"/>
              <a:gd name="connsiteX4" fmla="*/ 217932 w 217931"/>
              <a:gd name="connsiteY4" fmla="*/ 113348 h 217931"/>
              <a:gd name="connsiteX5" fmla="*/ 217932 w 217931"/>
              <a:gd name="connsiteY5" fmla="*/ 104584 h 217931"/>
              <a:gd name="connsiteX6" fmla="*/ 113252 w 217931"/>
              <a:gd name="connsiteY6" fmla="*/ 0 h 217931"/>
              <a:gd name="connsiteX7" fmla="*/ 104489 w 217931"/>
              <a:gd name="connsiteY7" fmla="*/ 0 h 217931"/>
              <a:gd name="connsiteX8" fmla="*/ 0 w 217931"/>
              <a:gd name="connsiteY8" fmla="*/ 104584 h 21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931" h="217931">
                <a:moveTo>
                  <a:pt x="0" y="104584"/>
                </a:moveTo>
                <a:lnTo>
                  <a:pt x="0" y="113348"/>
                </a:lnTo>
                <a:cubicBezTo>
                  <a:pt x="0" y="180689"/>
                  <a:pt x="37148" y="217932"/>
                  <a:pt x="104584" y="217932"/>
                </a:cubicBezTo>
                <a:lnTo>
                  <a:pt x="113348" y="217932"/>
                </a:lnTo>
                <a:cubicBezTo>
                  <a:pt x="180689" y="217932"/>
                  <a:pt x="217932" y="180785"/>
                  <a:pt x="217932" y="113348"/>
                </a:cubicBezTo>
                <a:lnTo>
                  <a:pt x="217932" y="104584"/>
                </a:lnTo>
                <a:cubicBezTo>
                  <a:pt x="217837" y="37148"/>
                  <a:pt x="180594" y="0"/>
                  <a:pt x="113252" y="0"/>
                </a:cubicBezTo>
                <a:lnTo>
                  <a:pt x="104489" y="0"/>
                </a:lnTo>
                <a:cubicBezTo>
                  <a:pt x="37148" y="0"/>
                  <a:pt x="0" y="37148"/>
                  <a:pt x="0" y="104584"/>
                </a:cubicBezTo>
              </a:path>
            </a:pathLst>
          </a:custGeom>
          <a:solidFill>
            <a:schemeClr val="bg2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85964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rci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F63CCF-B50E-43E2-B311-B7FF363C6C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2050" y="1308101"/>
            <a:ext cx="5148000" cy="1796654"/>
          </a:xfrm>
        </p:spPr>
        <p:txBody>
          <a:bodyPr anchor="b"/>
          <a:lstStyle>
            <a:lvl1pPr algn="l">
              <a:lnSpc>
                <a:spcPct val="70000"/>
              </a:lnSpc>
              <a:defRPr sz="6500"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B61339F-7C3C-484D-A5D1-34526AF296A3}"/>
              </a:ext>
            </a:extLst>
          </p:cNvPr>
          <p:cNvSpPr txBox="1"/>
          <p:nvPr userDrawn="1"/>
        </p:nvSpPr>
        <p:spPr>
          <a:xfrm>
            <a:off x="4972050" y="6220012"/>
            <a:ext cx="3060000" cy="252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000" b="0">
                <a:solidFill>
                  <a:schemeClr val="bg2"/>
                </a:solidFill>
                <a:latin typeface="+mj-lt"/>
              </a:rPr>
              <a:t>DOCUMENT DE CONFIDENTIALITÉ A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B9C5DE69-B3D1-FEAE-9BD4-9EAE9F9B7B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21" y="449613"/>
            <a:ext cx="1071762" cy="5943814"/>
          </a:xfrm>
          <a:custGeom>
            <a:avLst/>
            <a:gdLst>
              <a:gd name="connsiteX0" fmla="*/ 540418 w 1071762"/>
              <a:gd name="connsiteY0" fmla="*/ 4863266 h 5943814"/>
              <a:gd name="connsiteX1" fmla="*/ 1037671 w 1071762"/>
              <a:gd name="connsiteY1" fmla="*/ 4863266 h 5943814"/>
              <a:gd name="connsiteX2" fmla="*/ 1071636 w 1071762"/>
              <a:gd name="connsiteY2" fmla="*/ 5021170 h 5943814"/>
              <a:gd name="connsiteX3" fmla="*/ 1071636 w 1071762"/>
              <a:gd name="connsiteY3" fmla="*/ 5042948 h 5943814"/>
              <a:gd name="connsiteX4" fmla="*/ 1037747 w 1071762"/>
              <a:gd name="connsiteY4" fmla="*/ 5205073 h 5943814"/>
              <a:gd name="connsiteX5" fmla="*/ 529806 w 1071762"/>
              <a:gd name="connsiteY5" fmla="*/ 5205073 h 5943814"/>
              <a:gd name="connsiteX6" fmla="*/ 399466 w 1071762"/>
              <a:gd name="connsiteY6" fmla="*/ 5241912 h 5943814"/>
              <a:gd name="connsiteX7" fmla="*/ 319273 w 1071762"/>
              <a:gd name="connsiteY7" fmla="*/ 5377269 h 5943814"/>
              <a:gd name="connsiteX8" fmla="*/ 358758 w 1071762"/>
              <a:gd name="connsiteY8" fmla="*/ 5525872 h 5943814"/>
              <a:gd name="connsiteX9" fmla="*/ 529819 w 1071762"/>
              <a:gd name="connsiteY9" fmla="*/ 5602536 h 5943814"/>
              <a:gd name="connsiteX10" fmla="*/ 1037860 w 1071762"/>
              <a:gd name="connsiteY10" fmla="*/ 5602536 h 5943814"/>
              <a:gd name="connsiteX11" fmla="*/ 1071649 w 1071762"/>
              <a:gd name="connsiteY11" fmla="*/ 5760112 h 5943814"/>
              <a:gd name="connsiteX12" fmla="*/ 1071649 w 1071762"/>
              <a:gd name="connsiteY12" fmla="*/ 5781890 h 5943814"/>
              <a:gd name="connsiteX13" fmla="*/ 1037696 w 1071762"/>
              <a:gd name="connsiteY13" fmla="*/ 5943814 h 5943814"/>
              <a:gd name="connsiteX14" fmla="*/ 52240 w 1071762"/>
              <a:gd name="connsiteY14" fmla="*/ 5943814 h 5943814"/>
              <a:gd name="connsiteX15" fmla="*/ 18274 w 1071762"/>
              <a:gd name="connsiteY15" fmla="*/ 5786225 h 5943814"/>
              <a:gd name="connsiteX16" fmla="*/ 18274 w 1071762"/>
              <a:gd name="connsiteY16" fmla="*/ 5764485 h 5943814"/>
              <a:gd name="connsiteX17" fmla="*/ 52240 w 1071762"/>
              <a:gd name="connsiteY17" fmla="*/ 5618479 h 5943814"/>
              <a:gd name="connsiteX18" fmla="*/ 0 w 1071762"/>
              <a:gd name="connsiteY18" fmla="*/ 5403710 h 5943814"/>
              <a:gd name="connsiteX19" fmla="*/ 142175 w 1071762"/>
              <a:gd name="connsiteY19" fmla="*/ 5014314 h 5943814"/>
              <a:gd name="connsiteX20" fmla="*/ 540418 w 1071762"/>
              <a:gd name="connsiteY20" fmla="*/ 4863266 h 5943814"/>
              <a:gd name="connsiteX21" fmla="*/ 414639 w 1071762"/>
              <a:gd name="connsiteY21" fmla="*/ 4013013 h 5943814"/>
              <a:gd name="connsiteX22" fmla="*/ 405855 w 1071762"/>
              <a:gd name="connsiteY22" fmla="*/ 4015370 h 5943814"/>
              <a:gd name="connsiteX23" fmla="*/ 254593 w 1071762"/>
              <a:gd name="connsiteY23" fmla="*/ 4200748 h 5943814"/>
              <a:gd name="connsiteX24" fmla="*/ 254606 w 1071762"/>
              <a:gd name="connsiteY24" fmla="*/ 4200748 h 5943814"/>
              <a:gd name="connsiteX25" fmla="*/ 405615 w 1071762"/>
              <a:gd name="connsiteY25" fmla="*/ 4381804 h 5943814"/>
              <a:gd name="connsiteX26" fmla="*/ 414639 w 1071762"/>
              <a:gd name="connsiteY26" fmla="*/ 4384589 h 5943814"/>
              <a:gd name="connsiteX27" fmla="*/ 560734 w 1071762"/>
              <a:gd name="connsiteY27" fmla="*/ 3674117 h 5943814"/>
              <a:gd name="connsiteX28" fmla="*/ 628525 w 1071762"/>
              <a:gd name="connsiteY28" fmla="*/ 3675604 h 5943814"/>
              <a:gd name="connsiteX29" fmla="*/ 628525 w 1071762"/>
              <a:gd name="connsiteY29" fmla="*/ 4388521 h 5943814"/>
              <a:gd name="connsiteX30" fmla="*/ 637221 w 1071762"/>
              <a:gd name="connsiteY30" fmla="*/ 4386291 h 5943814"/>
              <a:gd name="connsiteX31" fmla="*/ 813185 w 1071762"/>
              <a:gd name="connsiteY31" fmla="*/ 4149731 h 5943814"/>
              <a:gd name="connsiteX32" fmla="*/ 708391 w 1071762"/>
              <a:gd name="connsiteY32" fmla="*/ 3911962 h 5943814"/>
              <a:gd name="connsiteX33" fmla="*/ 762609 w 1071762"/>
              <a:gd name="connsiteY33" fmla="*/ 3805706 h 5943814"/>
              <a:gd name="connsiteX34" fmla="*/ 772805 w 1071762"/>
              <a:gd name="connsiteY34" fmla="*/ 3793103 h 5943814"/>
              <a:gd name="connsiteX35" fmla="*/ 866508 w 1071762"/>
              <a:gd name="connsiteY35" fmla="*/ 3716426 h 5943814"/>
              <a:gd name="connsiteX36" fmla="*/ 1071472 w 1071762"/>
              <a:gd name="connsiteY36" fmla="*/ 4167375 h 5943814"/>
              <a:gd name="connsiteX37" fmla="*/ 1071484 w 1071762"/>
              <a:gd name="connsiteY37" fmla="*/ 4167375 h 5943814"/>
              <a:gd name="connsiteX38" fmla="*/ 539649 w 1071762"/>
              <a:gd name="connsiteY38" fmla="*/ 4729333 h 5943814"/>
              <a:gd name="connsiteX39" fmla="*/ 535805 w 1071762"/>
              <a:gd name="connsiteY39" fmla="*/ 4729333 h 5943814"/>
              <a:gd name="connsiteX40" fmla="*/ 138 w 1071762"/>
              <a:gd name="connsiteY40" fmla="*/ 4200748 h 5943814"/>
              <a:gd name="connsiteX41" fmla="*/ 167040 w 1071762"/>
              <a:gd name="connsiteY41" fmla="*/ 3802492 h 5943814"/>
              <a:gd name="connsiteX42" fmla="*/ 560734 w 1071762"/>
              <a:gd name="connsiteY42" fmla="*/ 3674117 h 5943814"/>
              <a:gd name="connsiteX43" fmla="*/ 1071762 w 1071762"/>
              <a:gd name="connsiteY43" fmla="*/ 3342456 h 5943814"/>
              <a:gd name="connsiteX44" fmla="*/ 1071762 w 1071762"/>
              <a:gd name="connsiteY44" fmla="*/ 3342469 h 5943814"/>
              <a:gd name="connsiteX45" fmla="*/ 1071758 w 1071762"/>
              <a:gd name="connsiteY45" fmla="*/ 3342465 h 5943814"/>
              <a:gd name="connsiteX46" fmla="*/ 830451 w 1071762"/>
              <a:gd name="connsiteY46" fmla="*/ 2512154 h 5943814"/>
              <a:gd name="connsiteX47" fmla="*/ 965883 w 1071762"/>
              <a:gd name="connsiteY47" fmla="*/ 2599569 h 5943814"/>
              <a:gd name="connsiteX48" fmla="*/ 981247 w 1071762"/>
              <a:gd name="connsiteY48" fmla="*/ 2614932 h 5943814"/>
              <a:gd name="connsiteX49" fmla="*/ 1071724 w 1071762"/>
              <a:gd name="connsiteY49" fmla="*/ 2753415 h 5943814"/>
              <a:gd name="connsiteX50" fmla="*/ 777720 w 1071762"/>
              <a:gd name="connsiteY50" fmla="*/ 3047948 h 5943814"/>
              <a:gd name="connsiteX51" fmla="*/ 1071758 w 1071762"/>
              <a:gd name="connsiteY51" fmla="*/ 3342465 h 5943814"/>
              <a:gd name="connsiteX52" fmla="*/ 1038102 w 1071762"/>
              <a:gd name="connsiteY52" fmla="*/ 3412075 h 5943814"/>
              <a:gd name="connsiteX53" fmla="*/ 984347 w 1071762"/>
              <a:gd name="connsiteY53" fmla="*/ 3477876 h 5943814"/>
              <a:gd name="connsiteX54" fmla="*/ 968984 w 1071762"/>
              <a:gd name="connsiteY54" fmla="*/ 3493239 h 5943814"/>
              <a:gd name="connsiteX55" fmla="*/ 830489 w 1071762"/>
              <a:gd name="connsiteY55" fmla="*/ 3583729 h 5943814"/>
              <a:gd name="connsiteX56" fmla="*/ 604743 w 1071762"/>
              <a:gd name="connsiteY56" fmla="*/ 3354832 h 5943814"/>
              <a:gd name="connsiteX57" fmla="*/ 467131 w 1071762"/>
              <a:gd name="connsiteY57" fmla="*/ 3354832 h 5943814"/>
              <a:gd name="connsiteX58" fmla="*/ 241448 w 1071762"/>
              <a:gd name="connsiteY58" fmla="*/ 3583716 h 5943814"/>
              <a:gd name="connsiteX59" fmla="*/ 106016 w 1071762"/>
              <a:gd name="connsiteY59" fmla="*/ 3496339 h 5943814"/>
              <a:gd name="connsiteX60" fmla="*/ 90653 w 1071762"/>
              <a:gd name="connsiteY60" fmla="*/ 3480976 h 5943814"/>
              <a:gd name="connsiteX61" fmla="*/ 176 w 1071762"/>
              <a:gd name="connsiteY61" fmla="*/ 3342481 h 5943814"/>
              <a:gd name="connsiteX62" fmla="*/ 294179 w 1071762"/>
              <a:gd name="connsiteY62" fmla="*/ 3047948 h 5943814"/>
              <a:gd name="connsiteX63" fmla="*/ 138 w 1071762"/>
              <a:gd name="connsiteY63" fmla="*/ 2753402 h 5943814"/>
              <a:gd name="connsiteX64" fmla="*/ 87553 w 1071762"/>
              <a:gd name="connsiteY64" fmla="*/ 2618020 h 5943814"/>
              <a:gd name="connsiteX65" fmla="*/ 102916 w 1071762"/>
              <a:gd name="connsiteY65" fmla="*/ 2602657 h 5943814"/>
              <a:gd name="connsiteX66" fmla="*/ 241411 w 1071762"/>
              <a:gd name="connsiteY66" fmla="*/ 2512179 h 5943814"/>
              <a:gd name="connsiteX67" fmla="*/ 467143 w 1071762"/>
              <a:gd name="connsiteY67" fmla="*/ 2741215 h 5943814"/>
              <a:gd name="connsiteX68" fmla="*/ 604743 w 1071762"/>
              <a:gd name="connsiteY68" fmla="*/ 2741215 h 5943814"/>
              <a:gd name="connsiteX69" fmla="*/ 34090 w 1071762"/>
              <a:gd name="connsiteY69" fmla="*/ 1993186 h 5943814"/>
              <a:gd name="connsiteX70" fmla="*/ 1037695 w 1071762"/>
              <a:gd name="connsiteY70" fmla="*/ 1993186 h 5943814"/>
              <a:gd name="connsiteX71" fmla="*/ 1071647 w 1071762"/>
              <a:gd name="connsiteY71" fmla="*/ 2151064 h 5943814"/>
              <a:gd name="connsiteX72" fmla="*/ 1071647 w 1071762"/>
              <a:gd name="connsiteY72" fmla="*/ 2172830 h 5943814"/>
              <a:gd name="connsiteX73" fmla="*/ 1071660 w 1071762"/>
              <a:gd name="connsiteY73" fmla="*/ 2172830 h 5943814"/>
              <a:gd name="connsiteX74" fmla="*/ 1037707 w 1071762"/>
              <a:gd name="connsiteY74" fmla="*/ 2335069 h 5943814"/>
              <a:gd name="connsiteX75" fmla="*/ 34090 w 1071762"/>
              <a:gd name="connsiteY75" fmla="*/ 2335069 h 5943814"/>
              <a:gd name="connsiteX76" fmla="*/ 137 w 1071762"/>
              <a:gd name="connsiteY76" fmla="*/ 2177191 h 5943814"/>
              <a:gd name="connsiteX77" fmla="*/ 137 w 1071762"/>
              <a:gd name="connsiteY77" fmla="*/ 2155425 h 5943814"/>
              <a:gd name="connsiteX78" fmla="*/ 34090 w 1071762"/>
              <a:gd name="connsiteY78" fmla="*/ 1993186 h 5943814"/>
              <a:gd name="connsiteX79" fmla="*/ 888211 w 1071762"/>
              <a:gd name="connsiteY79" fmla="*/ 1024566 h 5943814"/>
              <a:gd name="connsiteX80" fmla="*/ 909914 w 1071762"/>
              <a:gd name="connsiteY80" fmla="*/ 1024566 h 5943814"/>
              <a:gd name="connsiteX81" fmla="*/ 1071737 w 1071762"/>
              <a:gd name="connsiteY81" fmla="*/ 1058430 h 5943814"/>
              <a:gd name="connsiteX82" fmla="*/ 1071737 w 1071762"/>
              <a:gd name="connsiteY82" fmla="*/ 1312508 h 5943814"/>
              <a:gd name="connsiteX83" fmla="*/ 605475 w 1071762"/>
              <a:gd name="connsiteY83" fmla="*/ 1786583 h 5943814"/>
              <a:gd name="connsiteX84" fmla="*/ 34255 w 1071762"/>
              <a:gd name="connsiteY84" fmla="*/ 1786583 h 5943814"/>
              <a:gd name="connsiteX85" fmla="*/ 378 w 1071762"/>
              <a:gd name="connsiteY85" fmla="*/ 1629122 h 5943814"/>
              <a:gd name="connsiteX86" fmla="*/ 378 w 1071762"/>
              <a:gd name="connsiteY86" fmla="*/ 1607406 h 5943814"/>
              <a:gd name="connsiteX87" fmla="*/ 34255 w 1071762"/>
              <a:gd name="connsiteY87" fmla="*/ 1445595 h 5943814"/>
              <a:gd name="connsiteX88" fmla="*/ 170544 w 1071762"/>
              <a:gd name="connsiteY88" fmla="*/ 1445596 h 5943814"/>
              <a:gd name="connsiteX89" fmla="*/ 170544 w 1071762"/>
              <a:gd name="connsiteY89" fmla="*/ 1205079 h 5943814"/>
              <a:gd name="connsiteX90" fmla="*/ 328007 w 1071762"/>
              <a:gd name="connsiteY90" fmla="*/ 1171215 h 5943814"/>
              <a:gd name="connsiteX91" fmla="*/ 349722 w 1071762"/>
              <a:gd name="connsiteY91" fmla="*/ 1171215 h 5943814"/>
              <a:gd name="connsiteX92" fmla="*/ 511545 w 1071762"/>
              <a:gd name="connsiteY92" fmla="*/ 1205092 h 5943814"/>
              <a:gd name="connsiteX93" fmla="*/ 511545 w 1071762"/>
              <a:gd name="connsiteY93" fmla="*/ 1445609 h 5943814"/>
              <a:gd name="connsiteX94" fmla="*/ 597661 w 1071762"/>
              <a:gd name="connsiteY94" fmla="*/ 1445609 h 5943814"/>
              <a:gd name="connsiteX95" fmla="*/ 730737 w 1071762"/>
              <a:gd name="connsiteY95" fmla="*/ 1312533 h 5943814"/>
              <a:gd name="connsiteX96" fmla="*/ 730737 w 1071762"/>
              <a:gd name="connsiteY96" fmla="*/ 1058430 h 5943814"/>
              <a:gd name="connsiteX97" fmla="*/ 888211 w 1071762"/>
              <a:gd name="connsiteY97" fmla="*/ 1024566 h 5943814"/>
              <a:gd name="connsiteX98" fmla="*/ 241788 w 1071762"/>
              <a:gd name="connsiteY98" fmla="*/ 0 h 5943814"/>
              <a:gd name="connsiteX99" fmla="*/ 545029 w 1071762"/>
              <a:gd name="connsiteY99" fmla="*/ 303230 h 5943814"/>
              <a:gd name="connsiteX100" fmla="*/ 693783 w 1071762"/>
              <a:gd name="connsiteY100" fmla="*/ 364846 h 5943814"/>
              <a:gd name="connsiteX101" fmla="*/ 1037695 w 1071762"/>
              <a:gd name="connsiteY101" fmla="*/ 364846 h 5943814"/>
              <a:gd name="connsiteX102" fmla="*/ 1071635 w 1071762"/>
              <a:gd name="connsiteY102" fmla="*/ 522674 h 5943814"/>
              <a:gd name="connsiteX103" fmla="*/ 1071635 w 1071762"/>
              <a:gd name="connsiteY103" fmla="*/ 544439 h 5943814"/>
              <a:gd name="connsiteX104" fmla="*/ 1071647 w 1071762"/>
              <a:gd name="connsiteY104" fmla="*/ 544439 h 5943814"/>
              <a:gd name="connsiteX105" fmla="*/ 1037707 w 1071762"/>
              <a:gd name="connsiteY105" fmla="*/ 706628 h 5943814"/>
              <a:gd name="connsiteX106" fmla="*/ 693808 w 1071762"/>
              <a:gd name="connsiteY106" fmla="*/ 706628 h 5943814"/>
              <a:gd name="connsiteX107" fmla="*/ 545055 w 1071762"/>
              <a:gd name="connsiteY107" fmla="*/ 768257 h 5943814"/>
              <a:gd name="connsiteX108" fmla="*/ 241813 w 1071762"/>
              <a:gd name="connsiteY108" fmla="*/ 1071499 h 5943814"/>
              <a:gd name="connsiteX109" fmla="*/ 106078 w 1071762"/>
              <a:gd name="connsiteY109" fmla="*/ 983996 h 5943814"/>
              <a:gd name="connsiteX110" fmla="*/ 90728 w 1071762"/>
              <a:gd name="connsiteY110" fmla="*/ 968633 h 5943814"/>
              <a:gd name="connsiteX111" fmla="*/ 150 w 1071762"/>
              <a:gd name="connsiteY111" fmla="*/ 829810 h 5943814"/>
              <a:gd name="connsiteX112" fmla="*/ 294204 w 1071762"/>
              <a:gd name="connsiteY112" fmla="*/ 535743 h 5943814"/>
              <a:gd name="connsiteX113" fmla="*/ 112 w 1071762"/>
              <a:gd name="connsiteY113" fmla="*/ 241676 h 5943814"/>
              <a:gd name="connsiteX114" fmla="*/ 87615 w 1071762"/>
              <a:gd name="connsiteY114" fmla="*/ 105941 h 5943814"/>
              <a:gd name="connsiteX115" fmla="*/ 102965 w 1071762"/>
              <a:gd name="connsiteY115" fmla="*/ 90578 h 5943814"/>
              <a:gd name="connsiteX116" fmla="*/ 241788 w 1071762"/>
              <a:gd name="connsiteY116" fmla="*/ 0 h 594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1071762" h="5943814">
                <a:moveTo>
                  <a:pt x="540418" y="4863266"/>
                </a:moveTo>
                <a:lnTo>
                  <a:pt x="1037671" y="4863266"/>
                </a:lnTo>
                <a:cubicBezTo>
                  <a:pt x="1060205" y="4907994"/>
                  <a:pt x="1071636" y="4961103"/>
                  <a:pt x="1071636" y="5021170"/>
                </a:cubicBezTo>
                <a:lnTo>
                  <a:pt x="1071636" y="5042948"/>
                </a:lnTo>
                <a:cubicBezTo>
                  <a:pt x="1071636" y="5105761"/>
                  <a:pt x="1060230" y="5160282"/>
                  <a:pt x="1037747" y="5205073"/>
                </a:cubicBezTo>
                <a:cubicBezTo>
                  <a:pt x="875041" y="5204922"/>
                  <a:pt x="692890" y="5205086"/>
                  <a:pt x="529806" y="5205073"/>
                </a:cubicBezTo>
                <a:cubicBezTo>
                  <a:pt x="482847" y="5205073"/>
                  <a:pt x="438586" y="5214715"/>
                  <a:pt x="399466" y="5241912"/>
                </a:cubicBezTo>
                <a:cubicBezTo>
                  <a:pt x="352242" y="5274756"/>
                  <a:pt x="325713" y="5320215"/>
                  <a:pt x="319273" y="5377269"/>
                </a:cubicBezTo>
                <a:cubicBezTo>
                  <a:pt x="313110" y="5431878"/>
                  <a:pt x="324768" y="5482089"/>
                  <a:pt x="358758" y="5525872"/>
                </a:cubicBezTo>
                <a:cubicBezTo>
                  <a:pt x="402717" y="5582484"/>
                  <a:pt x="463703" y="5602422"/>
                  <a:pt x="529819" y="5602536"/>
                </a:cubicBezTo>
                <a:cubicBezTo>
                  <a:pt x="691642" y="5602801"/>
                  <a:pt x="876377" y="5602750"/>
                  <a:pt x="1037860" y="5602536"/>
                </a:cubicBezTo>
                <a:cubicBezTo>
                  <a:pt x="1060281" y="5647201"/>
                  <a:pt x="1071649" y="5700197"/>
                  <a:pt x="1071649" y="5760112"/>
                </a:cubicBezTo>
                <a:lnTo>
                  <a:pt x="1071649" y="5781890"/>
                </a:lnTo>
                <a:cubicBezTo>
                  <a:pt x="1071649" y="5844754"/>
                  <a:pt x="1060230" y="5898985"/>
                  <a:pt x="1037696" y="5943814"/>
                </a:cubicBezTo>
                <a:lnTo>
                  <a:pt x="52240" y="5943814"/>
                </a:lnTo>
                <a:cubicBezTo>
                  <a:pt x="29705" y="5899149"/>
                  <a:pt x="18287" y="5846166"/>
                  <a:pt x="18274" y="5786225"/>
                </a:cubicBezTo>
                <a:lnTo>
                  <a:pt x="18274" y="5764485"/>
                </a:lnTo>
                <a:cubicBezTo>
                  <a:pt x="18274" y="5683158"/>
                  <a:pt x="52240" y="5618479"/>
                  <a:pt x="52240" y="5618479"/>
                </a:cubicBezTo>
                <a:cubicBezTo>
                  <a:pt x="23341" y="5551153"/>
                  <a:pt x="0" y="5477375"/>
                  <a:pt x="0" y="5403710"/>
                </a:cubicBezTo>
                <a:cubicBezTo>
                  <a:pt x="0" y="5257338"/>
                  <a:pt x="32768" y="5125939"/>
                  <a:pt x="142175" y="5014314"/>
                </a:cubicBezTo>
                <a:cubicBezTo>
                  <a:pt x="239180" y="4915367"/>
                  <a:pt x="391400" y="4866518"/>
                  <a:pt x="540418" y="4863266"/>
                </a:cubicBezTo>
                <a:close/>
                <a:moveTo>
                  <a:pt x="414639" y="4013013"/>
                </a:moveTo>
                <a:lnTo>
                  <a:pt x="405855" y="4015370"/>
                </a:lnTo>
                <a:cubicBezTo>
                  <a:pt x="311143" y="4040778"/>
                  <a:pt x="254593" y="4110082"/>
                  <a:pt x="254593" y="4200748"/>
                </a:cubicBezTo>
                <a:lnTo>
                  <a:pt x="254606" y="4200748"/>
                </a:lnTo>
                <a:cubicBezTo>
                  <a:pt x="254606" y="4287457"/>
                  <a:pt x="308232" y="4351758"/>
                  <a:pt x="405615" y="4381804"/>
                </a:cubicBezTo>
                <a:lnTo>
                  <a:pt x="414639" y="4384589"/>
                </a:lnTo>
                <a:close/>
                <a:moveTo>
                  <a:pt x="560734" y="3674117"/>
                </a:moveTo>
                <a:cubicBezTo>
                  <a:pt x="581957" y="3674117"/>
                  <a:pt x="605777" y="3674117"/>
                  <a:pt x="628525" y="3675604"/>
                </a:cubicBezTo>
                <a:lnTo>
                  <a:pt x="628525" y="4388521"/>
                </a:lnTo>
                <a:lnTo>
                  <a:pt x="637221" y="4386291"/>
                </a:lnTo>
                <a:cubicBezTo>
                  <a:pt x="752338" y="4356837"/>
                  <a:pt x="813185" y="4275031"/>
                  <a:pt x="813185" y="4149731"/>
                </a:cubicBezTo>
                <a:cubicBezTo>
                  <a:pt x="813185" y="4058120"/>
                  <a:pt x="782774" y="3988992"/>
                  <a:pt x="708391" y="3911962"/>
                </a:cubicBezTo>
                <a:cubicBezTo>
                  <a:pt x="716583" y="3875779"/>
                  <a:pt x="734819" y="3840049"/>
                  <a:pt x="762609" y="3805706"/>
                </a:cubicBezTo>
                <a:lnTo>
                  <a:pt x="772805" y="3793103"/>
                </a:lnTo>
                <a:cubicBezTo>
                  <a:pt x="801830" y="3757260"/>
                  <a:pt x="833337" y="3731486"/>
                  <a:pt x="866508" y="3716426"/>
                </a:cubicBezTo>
                <a:cubicBezTo>
                  <a:pt x="1004423" y="3827421"/>
                  <a:pt x="1071472" y="3974977"/>
                  <a:pt x="1071472" y="4167375"/>
                </a:cubicBezTo>
                <a:lnTo>
                  <a:pt x="1071484" y="4167375"/>
                </a:lnTo>
                <a:cubicBezTo>
                  <a:pt x="1071484" y="4498243"/>
                  <a:pt x="852796" y="4729333"/>
                  <a:pt x="539649" y="4729333"/>
                </a:cubicBezTo>
                <a:lnTo>
                  <a:pt x="535805" y="4729333"/>
                </a:lnTo>
                <a:cubicBezTo>
                  <a:pt x="230433" y="4729333"/>
                  <a:pt x="138" y="4502087"/>
                  <a:pt x="138" y="4200748"/>
                </a:cubicBezTo>
                <a:cubicBezTo>
                  <a:pt x="138" y="4032611"/>
                  <a:pt x="57835" y="3894897"/>
                  <a:pt x="167040" y="3802492"/>
                </a:cubicBezTo>
                <a:cubicBezTo>
                  <a:pt x="266302" y="3718505"/>
                  <a:pt x="402440" y="3674117"/>
                  <a:pt x="560734" y="3674117"/>
                </a:cubicBezTo>
                <a:close/>
                <a:moveTo>
                  <a:pt x="1071762" y="3342456"/>
                </a:moveTo>
                <a:lnTo>
                  <a:pt x="1071762" y="3342469"/>
                </a:lnTo>
                <a:lnTo>
                  <a:pt x="1071758" y="3342465"/>
                </a:lnTo>
                <a:close/>
                <a:moveTo>
                  <a:pt x="830451" y="2512154"/>
                </a:moveTo>
                <a:cubicBezTo>
                  <a:pt x="877939" y="2527782"/>
                  <a:pt x="923487" y="2557173"/>
                  <a:pt x="965883" y="2599569"/>
                </a:cubicBezTo>
                <a:lnTo>
                  <a:pt x="981247" y="2614932"/>
                </a:lnTo>
                <a:cubicBezTo>
                  <a:pt x="1025597" y="2659270"/>
                  <a:pt x="1056008" y="2705838"/>
                  <a:pt x="1071724" y="2753415"/>
                </a:cubicBezTo>
                <a:lnTo>
                  <a:pt x="777720" y="3047948"/>
                </a:lnTo>
                <a:lnTo>
                  <a:pt x="1071758" y="3342465"/>
                </a:lnTo>
                <a:lnTo>
                  <a:pt x="1038102" y="3412075"/>
                </a:lnTo>
                <a:cubicBezTo>
                  <a:pt x="1023501" y="3434695"/>
                  <a:pt x="1005551" y="3456678"/>
                  <a:pt x="984347" y="3477876"/>
                </a:cubicBezTo>
                <a:lnTo>
                  <a:pt x="968984" y="3493239"/>
                </a:lnTo>
                <a:cubicBezTo>
                  <a:pt x="924621" y="3537602"/>
                  <a:pt x="878053" y="3568026"/>
                  <a:pt x="830489" y="3583729"/>
                </a:cubicBezTo>
                <a:lnTo>
                  <a:pt x="604743" y="3354832"/>
                </a:lnTo>
                <a:cubicBezTo>
                  <a:pt x="566733" y="3316884"/>
                  <a:pt x="505142" y="3316884"/>
                  <a:pt x="467131" y="3354832"/>
                </a:cubicBezTo>
                <a:lnTo>
                  <a:pt x="241448" y="3583716"/>
                </a:lnTo>
                <a:cubicBezTo>
                  <a:pt x="193960" y="3568089"/>
                  <a:pt x="148413" y="3538724"/>
                  <a:pt x="106016" y="3496339"/>
                </a:cubicBezTo>
                <a:lnTo>
                  <a:pt x="90653" y="3480976"/>
                </a:lnTo>
                <a:cubicBezTo>
                  <a:pt x="46290" y="3436614"/>
                  <a:pt x="15854" y="3390045"/>
                  <a:pt x="176" y="3342481"/>
                </a:cubicBezTo>
                <a:lnTo>
                  <a:pt x="294179" y="3047948"/>
                </a:lnTo>
                <a:lnTo>
                  <a:pt x="138" y="2753402"/>
                </a:lnTo>
                <a:cubicBezTo>
                  <a:pt x="15753" y="2705914"/>
                  <a:pt x="45143" y="2660417"/>
                  <a:pt x="87553" y="2618020"/>
                </a:cubicBezTo>
                <a:lnTo>
                  <a:pt x="102916" y="2602657"/>
                </a:lnTo>
                <a:cubicBezTo>
                  <a:pt x="147278" y="2558294"/>
                  <a:pt x="193847" y="2527870"/>
                  <a:pt x="241411" y="2512179"/>
                </a:cubicBezTo>
                <a:lnTo>
                  <a:pt x="467143" y="2741215"/>
                </a:lnTo>
                <a:cubicBezTo>
                  <a:pt x="505154" y="2779163"/>
                  <a:pt x="566733" y="2779163"/>
                  <a:pt x="604743" y="2741215"/>
                </a:cubicBezTo>
                <a:close/>
                <a:moveTo>
                  <a:pt x="34090" y="1993186"/>
                </a:moveTo>
                <a:lnTo>
                  <a:pt x="1037695" y="1993186"/>
                </a:lnTo>
                <a:cubicBezTo>
                  <a:pt x="1060229" y="2037902"/>
                  <a:pt x="1071647" y="2090998"/>
                  <a:pt x="1071647" y="2151064"/>
                </a:cubicBezTo>
                <a:lnTo>
                  <a:pt x="1071647" y="2172830"/>
                </a:lnTo>
                <a:lnTo>
                  <a:pt x="1071660" y="2172830"/>
                </a:lnTo>
                <a:cubicBezTo>
                  <a:pt x="1071660" y="2235681"/>
                  <a:pt x="1060241" y="2290227"/>
                  <a:pt x="1037707" y="2335069"/>
                </a:cubicBezTo>
                <a:lnTo>
                  <a:pt x="34090" y="2335069"/>
                </a:lnTo>
                <a:cubicBezTo>
                  <a:pt x="11568" y="2290353"/>
                  <a:pt x="137" y="2237257"/>
                  <a:pt x="137" y="2177191"/>
                </a:cubicBezTo>
                <a:lnTo>
                  <a:pt x="137" y="2155425"/>
                </a:lnTo>
                <a:cubicBezTo>
                  <a:pt x="137" y="2092561"/>
                  <a:pt x="11555" y="2038002"/>
                  <a:pt x="34090" y="1993186"/>
                </a:cubicBezTo>
                <a:close/>
                <a:moveTo>
                  <a:pt x="888211" y="1024566"/>
                </a:moveTo>
                <a:lnTo>
                  <a:pt x="909914" y="1024566"/>
                </a:lnTo>
                <a:cubicBezTo>
                  <a:pt x="972601" y="1024566"/>
                  <a:pt x="1027021" y="1035959"/>
                  <a:pt x="1071737" y="1058430"/>
                </a:cubicBezTo>
                <a:lnTo>
                  <a:pt x="1071737" y="1312508"/>
                </a:lnTo>
                <a:cubicBezTo>
                  <a:pt x="1071737" y="1571778"/>
                  <a:pt x="855633" y="1786584"/>
                  <a:pt x="605475" y="1786583"/>
                </a:cubicBezTo>
                <a:lnTo>
                  <a:pt x="34255" y="1786583"/>
                </a:lnTo>
                <a:cubicBezTo>
                  <a:pt x="11771" y="1741968"/>
                  <a:pt x="378" y="1689010"/>
                  <a:pt x="378" y="1629122"/>
                </a:cubicBezTo>
                <a:lnTo>
                  <a:pt x="378" y="1607406"/>
                </a:lnTo>
                <a:cubicBezTo>
                  <a:pt x="378" y="1544718"/>
                  <a:pt x="11771" y="1490298"/>
                  <a:pt x="34255" y="1445595"/>
                </a:cubicBezTo>
                <a:lnTo>
                  <a:pt x="170544" y="1445596"/>
                </a:lnTo>
                <a:lnTo>
                  <a:pt x="170544" y="1205079"/>
                </a:lnTo>
                <a:cubicBezTo>
                  <a:pt x="215159" y="1182608"/>
                  <a:pt x="268117" y="1171215"/>
                  <a:pt x="328007" y="1171215"/>
                </a:cubicBezTo>
                <a:lnTo>
                  <a:pt x="349722" y="1171215"/>
                </a:lnTo>
                <a:cubicBezTo>
                  <a:pt x="412409" y="1171215"/>
                  <a:pt x="466829" y="1182608"/>
                  <a:pt x="511545" y="1205092"/>
                </a:cubicBezTo>
                <a:lnTo>
                  <a:pt x="511545" y="1445609"/>
                </a:lnTo>
                <a:lnTo>
                  <a:pt x="597661" y="1445609"/>
                </a:lnTo>
                <a:cubicBezTo>
                  <a:pt x="671036" y="1445609"/>
                  <a:pt x="730737" y="1385908"/>
                  <a:pt x="730737" y="1312533"/>
                </a:cubicBezTo>
                <a:lnTo>
                  <a:pt x="730737" y="1058430"/>
                </a:lnTo>
                <a:cubicBezTo>
                  <a:pt x="775351" y="1035959"/>
                  <a:pt x="828297" y="1024566"/>
                  <a:pt x="888211" y="1024566"/>
                </a:cubicBezTo>
                <a:close/>
                <a:moveTo>
                  <a:pt x="241788" y="0"/>
                </a:moveTo>
                <a:lnTo>
                  <a:pt x="545029" y="303230"/>
                </a:lnTo>
                <a:cubicBezTo>
                  <a:pt x="584477" y="342677"/>
                  <a:pt x="637989" y="364846"/>
                  <a:pt x="693783" y="364846"/>
                </a:cubicBezTo>
                <a:lnTo>
                  <a:pt x="1037695" y="364846"/>
                </a:lnTo>
                <a:cubicBezTo>
                  <a:pt x="1060216" y="409549"/>
                  <a:pt x="1071635" y="462633"/>
                  <a:pt x="1071635" y="522674"/>
                </a:cubicBezTo>
                <a:lnTo>
                  <a:pt x="1071635" y="544439"/>
                </a:lnTo>
                <a:lnTo>
                  <a:pt x="1071647" y="544439"/>
                </a:lnTo>
                <a:cubicBezTo>
                  <a:pt x="1071647" y="607278"/>
                  <a:pt x="1060229" y="661824"/>
                  <a:pt x="1037707" y="706628"/>
                </a:cubicBezTo>
                <a:lnTo>
                  <a:pt x="693808" y="706628"/>
                </a:lnTo>
                <a:cubicBezTo>
                  <a:pt x="638015" y="706628"/>
                  <a:pt x="584502" y="728797"/>
                  <a:pt x="545055" y="768257"/>
                </a:cubicBezTo>
                <a:lnTo>
                  <a:pt x="241813" y="1071499"/>
                </a:lnTo>
                <a:cubicBezTo>
                  <a:pt x="194224" y="1055909"/>
                  <a:pt x="148576" y="1026481"/>
                  <a:pt x="106078" y="983996"/>
                </a:cubicBezTo>
                <a:lnTo>
                  <a:pt x="90728" y="968633"/>
                </a:lnTo>
                <a:cubicBezTo>
                  <a:pt x="46264" y="924169"/>
                  <a:pt x="15803" y="877475"/>
                  <a:pt x="150" y="829810"/>
                </a:cubicBezTo>
                <a:lnTo>
                  <a:pt x="294204" y="535743"/>
                </a:lnTo>
                <a:lnTo>
                  <a:pt x="112" y="241676"/>
                </a:lnTo>
                <a:cubicBezTo>
                  <a:pt x="15702" y="194074"/>
                  <a:pt x="45130" y="148426"/>
                  <a:pt x="87615" y="105941"/>
                </a:cubicBezTo>
                <a:lnTo>
                  <a:pt x="102965" y="90578"/>
                </a:lnTo>
                <a:cubicBezTo>
                  <a:pt x="147429" y="46114"/>
                  <a:pt x="194111" y="15665"/>
                  <a:pt x="24178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pPr lvl="0"/>
            <a:r>
              <a:rPr lang="fr-FR"/>
              <a:t>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1316204C-44E0-87D5-4E7A-EEEE6F0051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72050" y="3206680"/>
            <a:ext cx="5147999" cy="1440000"/>
          </a:xfr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 marL="108000" indent="-108000"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91460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FA0F784-079F-07C1-8E55-1107B267B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7222" y="4354840"/>
            <a:ext cx="4450079" cy="4431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fr-FR" sz="1800" kern="1200" dirty="0">
                <a:solidFill>
                  <a:schemeClr val="bg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Sous-titre de la présentation </a:t>
            </a:r>
            <a:br>
              <a:rPr lang="fr-FR" dirty="0"/>
            </a:br>
            <a:r>
              <a:rPr lang="fr-FR" dirty="0"/>
              <a:t>sur trois lignes maximum</a:t>
            </a:r>
          </a:p>
        </p:txBody>
      </p:sp>
      <p:sp>
        <p:nvSpPr>
          <p:cNvPr id="20" name="Footer Placeholder 34">
            <a:extLst>
              <a:ext uri="{FF2B5EF4-FFF2-40B4-BE49-F238E27FC236}">
                <a16:creationId xmlns:a16="http://schemas.microsoft.com/office/drawing/2014/main" id="{0F69FE5D-5624-F8E9-8993-8E8D81EE58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5850" y="1068388"/>
            <a:ext cx="438462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fr-FR" sz="800" kern="1200" dirty="0">
                <a:solidFill>
                  <a:schemeClr val="bg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NOM DE LA PRÉSENTATION  -  </a:t>
            </a:r>
            <a:r>
              <a:rPr lang="fr-FR" dirty="0">
                <a:solidFill>
                  <a:schemeClr val="accent1"/>
                </a:solidFill>
              </a:rPr>
              <a:t>MOIS ANNÉ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EE21A52-2432-7135-D01D-2E649D9D37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525598"/>
            <a:ext cx="5570434" cy="580680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58C26C0-11EA-372F-4C40-5860B9D07D31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2EFC74-D7E5-C855-3226-0004023219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7222" y="3161568"/>
            <a:ext cx="4450079" cy="953274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fr-FR" sz="3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e la présentation</a:t>
            </a:r>
            <a:endParaRPr lang="fr-FR" dirty="0"/>
          </a:p>
        </p:txBody>
      </p:sp>
      <p:pic>
        <p:nvPicPr>
          <p:cNvPr id="26" name="Google Shape;312;p50" title="COGEDIM_Blocmarque_RVB.png">
            <a:extLst>
              <a:ext uri="{FF2B5EF4-FFF2-40B4-BE49-F238E27FC236}">
                <a16:creationId xmlns:a16="http://schemas.microsoft.com/office/drawing/2014/main" id="{577AEBA1-6765-1E7D-1A24-000539460318}"/>
              </a:ext>
            </a:extLst>
          </p:cNvPr>
          <p:cNvPicPr preferRelativeResize="0"/>
          <p:nvPr userDrawn="1"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328BEF2-467E-585A-37F9-B0B7FB7B52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558" y="1308494"/>
            <a:ext cx="6229156" cy="503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250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DC4E7EB-CDAE-CF83-CF86-8DA071190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D835984-6AE0-7A50-C3E5-324CCF6F78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5" y="188119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868DB6A6-A1EA-27D3-79BA-B14CC82F2C6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68154" y="2267271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 dirty="0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 dirty="0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 dirty="0"/>
              <a:t>Titre de sous partie</a:t>
            </a:r>
          </a:p>
          <a:p>
            <a:pPr lvl="0"/>
            <a:endParaRPr lang="fr-FR" dirty="0"/>
          </a:p>
          <a:p>
            <a:pPr lvl="0"/>
            <a:endParaRPr lang="fr-FR" dirty="0"/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E90F734-01C2-A6A6-BAF4-43A2ED74FB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865" y="325803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2" name="Espace réservé du texte 11">
            <a:extLst>
              <a:ext uri="{FF2B5EF4-FFF2-40B4-BE49-F238E27FC236}">
                <a16:creationId xmlns:a16="http://schemas.microsoft.com/office/drawing/2014/main" id="{9F2F8DD3-1B41-B277-420A-9DEF0879AC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8154" y="3654635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5557F29E-E95D-0C71-BE0C-E6A4B74A10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4589" y="1881195"/>
            <a:ext cx="3565525" cy="282891"/>
          </a:xfrm>
        </p:spPr>
        <p:txBody>
          <a:bodyPr>
            <a:normAutofit/>
          </a:bodyPr>
          <a:lstStyle>
            <a:lvl1pPr marL="12600" indent="0">
              <a:buFont typeface="Arial" panose="020B0604020202020204" pitchFamily="34" charset="0"/>
              <a:buNone/>
              <a:defRPr sz="18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Grand titre de parti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CF61414E-B138-38EE-DB39-E7BC093EE9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51878" y="2267271"/>
            <a:ext cx="3048235" cy="817384"/>
          </a:xfrm>
        </p:spPr>
        <p:txBody>
          <a:bodyPr>
            <a:normAutofit/>
          </a:bodyPr>
          <a:lstStyle>
            <a:lvl1pPr marL="298295" indent="-285704">
              <a:spcBef>
                <a:spcPts val="499"/>
              </a:spcBef>
              <a:buSzPct val="110000"/>
              <a:buFont typeface="Police système Courant"/>
              <a:buChar char="●"/>
              <a:defRPr sz="1400"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>
              <a:buNone/>
              <a:defRPr/>
            </a:lvl2pPr>
            <a:lvl3pPr marL="983982" indent="0">
              <a:buNone/>
              <a:defRPr/>
            </a:lvl3pPr>
            <a:lvl4pPr marL="1441099" indent="0">
              <a:buNone/>
              <a:defRPr/>
            </a:lvl4pPr>
            <a:lvl5pPr marL="1898217" indent="0">
              <a:buNone/>
              <a:defRPr/>
            </a:lvl5pPr>
          </a:lstStyle>
          <a:p>
            <a:pPr lvl="0"/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Police système Courant"/>
              <a:buChar char="●"/>
              <a:tabLst/>
              <a:defRPr/>
            </a:pPr>
            <a:r>
              <a:rPr lang="fr-FR"/>
              <a:t>Titre de sous partie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696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5087" userDrawn="1">
          <p15:clr>
            <a:srgbClr val="FBAE40"/>
          </p15:clr>
        </p15:guide>
        <p15:guide id="4" pos="4951" userDrawn="1">
          <p15:clr>
            <a:srgbClr val="FBAE40"/>
          </p15:clr>
        </p15:guide>
        <p15:guide id="7" orient="horz" pos="255" userDrawn="1">
          <p15:clr>
            <a:srgbClr val="FBAE40"/>
          </p15:clr>
        </p15:guide>
        <p15:guide id="8" pos="66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773BF99-02DF-2530-12AD-A04868471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5DDEF29-48E4-3148-FA67-9BDE147E6714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01E0271-D536-3AB3-516F-63C26ED07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7222" y="4354840"/>
            <a:ext cx="4450079" cy="229037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fr-FR" sz="1800" kern="1200" dirty="0">
                <a:solidFill>
                  <a:schemeClr val="bg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À vos questions </a:t>
            </a:r>
          </a:p>
        </p:txBody>
      </p:sp>
      <p:sp>
        <p:nvSpPr>
          <p:cNvPr id="16" name="Footer Placeholder 34">
            <a:extLst>
              <a:ext uri="{FF2B5EF4-FFF2-40B4-BE49-F238E27FC236}">
                <a16:creationId xmlns:a16="http://schemas.microsoft.com/office/drawing/2014/main" id="{CBB07D0D-A207-33ED-FBDC-E8F4539C9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5850" y="1068388"/>
            <a:ext cx="392747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fr-FR" sz="800" kern="1200" dirty="0">
                <a:solidFill>
                  <a:schemeClr val="bg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NOM DE LA PRÉSENTATION  -  </a:t>
            </a:r>
            <a:r>
              <a:rPr lang="fr-FR" dirty="0">
                <a:solidFill>
                  <a:schemeClr val="accent1"/>
                </a:solidFill>
              </a:rPr>
              <a:t>MOIS ANNÉ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20912AA-109E-42BA-C288-13A74F2400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000" y="525567"/>
            <a:ext cx="5576520" cy="5806800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D15169F-F4F5-DC85-CB94-4E6105EA49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7222" y="2693748"/>
            <a:ext cx="4450079" cy="1421095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fr-FR" sz="3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erci </a:t>
            </a:r>
            <a:br>
              <a:rPr lang="fr-FR"/>
            </a:br>
            <a:r>
              <a:rPr lang="fr-FR"/>
              <a:t>pour votre attention !</a:t>
            </a:r>
            <a:endParaRPr lang="fr-FR" dirty="0"/>
          </a:p>
        </p:txBody>
      </p:sp>
      <p:pic>
        <p:nvPicPr>
          <p:cNvPr id="21" name="Picture 20" descr="A person and person holding a baby&#10;&#10;AI-generated content may be incorrect.">
            <a:extLst>
              <a:ext uri="{FF2B5EF4-FFF2-40B4-BE49-F238E27FC236}">
                <a16:creationId xmlns:a16="http://schemas.microsoft.com/office/drawing/2014/main" id="{38BC8359-9A2E-C622-62EE-0BA8EA75BD9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97893" y="2308074"/>
            <a:ext cx="5565095" cy="368299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90646D8A-7CDB-F239-9315-23505AEB0B0F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3E2E0E4-E174-A88D-64ED-2BC260CD926D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AA7EA67-CE0A-284F-1683-54C08482518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1FCD2E2-02C4-222F-524E-A32830276F2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713E0365-D445-0FF2-AD9C-41362B0AA409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7" name="Google Shape;312;p50" title="COGEDIM_Blocmarque_RVB.png">
            <a:extLst>
              <a:ext uri="{FF2B5EF4-FFF2-40B4-BE49-F238E27FC236}">
                <a16:creationId xmlns:a16="http://schemas.microsoft.com/office/drawing/2014/main" id="{DB291B6E-96F2-8DEE-0120-3ACE503D1B98}"/>
              </a:ext>
            </a:extLst>
          </p:cNvPr>
          <p:cNvPicPr preferRelativeResize="0"/>
          <p:nvPr userDrawn="1"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5802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de 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on a couch reading a newspaper&#10;&#10;AI-generated content may be incorrect.">
            <a:extLst>
              <a:ext uri="{FF2B5EF4-FFF2-40B4-BE49-F238E27FC236}">
                <a16:creationId xmlns:a16="http://schemas.microsoft.com/office/drawing/2014/main" id="{1C7DCF0B-2131-8F47-7954-F40C94DB07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32" name="Picture 31" descr="A person sitting in a chair with a newspaper&#10;&#10;AI-generated content may be incorrect.">
            <a:extLst>
              <a:ext uri="{FF2B5EF4-FFF2-40B4-BE49-F238E27FC236}">
                <a16:creationId xmlns:a16="http://schemas.microsoft.com/office/drawing/2014/main" id="{82857CF2-5D43-9FE6-3C3C-04D57924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640190" y="1972310"/>
            <a:ext cx="4841120" cy="4885690"/>
          </a:xfrm>
          <a:prstGeom prst="rect">
            <a:avLst/>
          </a:prstGeom>
        </p:spPr>
      </p:pic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C25DBBF8-EFD7-16EE-ACE9-47240F02A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10690" y="1775936"/>
            <a:ext cx="3939540" cy="581506"/>
          </a:xfrm>
        </p:spPr>
        <p:txBody>
          <a:bodyPr wrap="square" anchor="ctr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defRPr lang="fr-FR" sz="22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530EB07-D250-4E41-C901-25B347C8A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666" y="879731"/>
            <a:ext cx="5032859" cy="400559"/>
          </a:xfrm>
        </p:spPr>
        <p:txBody>
          <a:bodyPr anchor="t"/>
          <a:lstStyle>
            <a:lvl1pPr>
              <a:defRPr/>
            </a:lvl1pPr>
          </a:lstStyle>
          <a:p>
            <a:r>
              <a:rPr lang="fr-FR"/>
              <a:t>Sommaire</a:t>
            </a:r>
            <a:endParaRPr lang="fr-FR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6906B02-6D94-A74C-9F58-7359208629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9666" y="607549"/>
            <a:ext cx="5032859" cy="107722"/>
          </a:xfrm>
        </p:spPr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B4A8D86-0D24-2F3E-CE8B-C8572172CD00}"/>
              </a:ext>
            </a:extLst>
          </p:cNvPr>
          <p:cNvCxnSpPr>
            <a:cxnSpLocks/>
          </p:cNvCxnSpPr>
          <p:nvPr userDrawn="1"/>
        </p:nvCxnSpPr>
        <p:spPr>
          <a:xfrm>
            <a:off x="623955" y="2635729"/>
            <a:ext cx="5026275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CC37593-8F01-3D2F-F234-191607174A8E}"/>
              </a:ext>
            </a:extLst>
          </p:cNvPr>
          <p:cNvCxnSpPr>
            <a:cxnSpLocks/>
          </p:cNvCxnSpPr>
          <p:nvPr userDrawn="1"/>
        </p:nvCxnSpPr>
        <p:spPr>
          <a:xfrm>
            <a:off x="623955" y="3773808"/>
            <a:ext cx="5026275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EEA3FF5-F037-2823-E7BB-AE6DDFBC51EC}"/>
              </a:ext>
            </a:extLst>
          </p:cNvPr>
          <p:cNvCxnSpPr>
            <a:cxnSpLocks/>
          </p:cNvCxnSpPr>
          <p:nvPr userDrawn="1"/>
        </p:nvCxnSpPr>
        <p:spPr>
          <a:xfrm>
            <a:off x="623955" y="4911887"/>
            <a:ext cx="5026275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99F73D4-6B5F-513C-8B07-078390CB2E6E}"/>
              </a:ext>
            </a:extLst>
          </p:cNvPr>
          <p:cNvCxnSpPr>
            <a:cxnSpLocks/>
          </p:cNvCxnSpPr>
          <p:nvPr userDrawn="1"/>
        </p:nvCxnSpPr>
        <p:spPr>
          <a:xfrm>
            <a:off x="623955" y="6049963"/>
            <a:ext cx="5026275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24DD799-264F-D247-6AA3-A878924B7F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667" y="1678891"/>
            <a:ext cx="626775" cy="730456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defRPr lang="fr-FR" sz="42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BDAA8BD6-3310-0628-8EE5-59614E10EC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67" y="2816970"/>
            <a:ext cx="734175" cy="730456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defRPr lang="fr-FR" sz="42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2</a:t>
            </a:r>
            <a:endParaRPr lang="fr-FR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51D6228-7D5A-AD48-FE0C-30C25DF3E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667" y="3955049"/>
            <a:ext cx="730969" cy="730456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defRPr lang="fr-FR" sz="42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3</a:t>
            </a:r>
            <a:endParaRPr lang="fr-FR" dirty="0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BD8A6D55-3E1E-8419-C768-20EB25C1E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667" y="5093128"/>
            <a:ext cx="746999" cy="730456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defRPr lang="fr-FR" sz="4200" kern="120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4</a:t>
            </a:r>
            <a:endParaRPr lang="fr-FR" dirty="0"/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BB59007E-A0E3-5009-0ECA-1831793E13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10690" y="2914015"/>
            <a:ext cx="3939540" cy="581506"/>
          </a:xfrm>
        </p:spPr>
        <p:txBody>
          <a:bodyPr wrap="square" anchor="ctr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defRPr lang="fr-FR" sz="22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76DD37EA-C686-2C5D-B44A-DBDEDAB506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10690" y="4052095"/>
            <a:ext cx="3939540" cy="581506"/>
          </a:xfrm>
        </p:spPr>
        <p:txBody>
          <a:bodyPr wrap="square" anchor="ctr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defRPr lang="fr-FR" sz="22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43" name="Text Placeholder 38">
            <a:extLst>
              <a:ext uri="{FF2B5EF4-FFF2-40B4-BE49-F238E27FC236}">
                <a16:creationId xmlns:a16="http://schemas.microsoft.com/office/drawing/2014/main" id="{DF29E7C6-60D2-6CF0-5841-08E474BA7A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10690" y="5190172"/>
            <a:ext cx="3939540" cy="581506"/>
          </a:xfrm>
        </p:spPr>
        <p:txBody>
          <a:bodyPr wrap="square" anchor="ctr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defRPr lang="fr-FR" sz="22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44" name="Slide Number Placeholder 7">
            <a:extLst>
              <a:ext uri="{FF2B5EF4-FFF2-40B4-BE49-F238E27FC236}">
                <a16:creationId xmlns:a16="http://schemas.microsoft.com/office/drawing/2014/main" id="{F9ECBDC7-7AD6-8424-B5B1-BE8BF8ED4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630ACB1-C220-B73B-C4A1-A6FF049A26DD}"/>
              </a:ext>
            </a:extLst>
          </p:cNvPr>
          <p:cNvGrpSpPr/>
          <p:nvPr userDrawn="1"/>
        </p:nvGrpSpPr>
        <p:grpSpPr>
          <a:xfrm>
            <a:off x="-2" y="0"/>
            <a:ext cx="12192002" cy="6858000"/>
            <a:chOff x="-2" y="0"/>
            <a:chExt cx="12192002" cy="6858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A7EE804-D88E-3F27-9BA1-0FA7D79E9065}"/>
                </a:ext>
              </a:extLst>
            </p:cNvPr>
            <p:cNvGrpSpPr/>
            <p:nvPr userDrawn="1"/>
          </p:nvGrpSpPr>
          <p:grpSpPr>
            <a:xfrm>
              <a:off x="-2" y="0"/>
              <a:ext cx="12192002" cy="3429001"/>
              <a:chOff x="-2" y="-1"/>
              <a:chExt cx="12192002" cy="342900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A9A9A60-D762-621D-643A-E28CFF2B4FC2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260985" cy="3429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2AA862A-4EF3-2687-231E-CAEA1A60DDB1}"/>
                  </a:ext>
                </a:extLst>
              </p:cNvPr>
              <p:cNvSpPr/>
              <p:nvPr userDrawn="1"/>
            </p:nvSpPr>
            <p:spPr>
              <a:xfrm>
                <a:off x="11931015" y="0"/>
                <a:ext cx="260985" cy="3429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52C2F2D-B57A-5A99-26D6-FC4C231FADC1}"/>
                  </a:ext>
                </a:extLst>
              </p:cNvPr>
              <p:cNvSpPr/>
              <p:nvPr userDrawn="1"/>
            </p:nvSpPr>
            <p:spPr>
              <a:xfrm rot="16200000">
                <a:off x="5965505" y="-5965508"/>
                <a:ext cx="260985" cy="1219199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8308890-B84E-A17A-6CD1-A663FD58F2A5}"/>
                </a:ext>
              </a:extLst>
            </p:cNvPr>
            <p:cNvGrpSpPr/>
            <p:nvPr userDrawn="1"/>
          </p:nvGrpSpPr>
          <p:grpSpPr>
            <a:xfrm>
              <a:off x="9418321" y="0"/>
              <a:ext cx="1384937" cy="381000"/>
              <a:chOff x="9418321" y="427112"/>
              <a:chExt cx="1384937" cy="38100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B73824D-B04D-F7D8-5A87-EDC4D22A000D}"/>
                  </a:ext>
                </a:extLst>
              </p:cNvPr>
              <p:cNvSpPr/>
              <p:nvPr userDrawn="1"/>
            </p:nvSpPr>
            <p:spPr>
              <a:xfrm rot="16200000">
                <a:off x="9920290" y="-74857"/>
                <a:ext cx="381000" cy="138493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pic>
            <p:nvPicPr>
              <p:cNvPr id="33" name="Google Shape;303;p49" title="COGEDIM_Logo_RVB.png">
                <a:extLst>
                  <a:ext uri="{FF2B5EF4-FFF2-40B4-BE49-F238E27FC236}">
                    <a16:creationId xmlns:a16="http://schemas.microsoft.com/office/drawing/2014/main" id="{EFBC9ECA-35D8-5EBB-3170-FDB6BCC57824}"/>
                  </a:ext>
                </a:extLst>
              </p:cNvPr>
              <p:cNvPicPr preferRelativeResize="0"/>
              <p:nvPr userDrawn="1"/>
            </p:nvPicPr>
            <p:blipFill>
              <a:blip r:embed="rId4" cstate="screen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546909" y="516262"/>
                <a:ext cx="1127762" cy="20269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636ECB4-7C7B-2573-4989-475BEFF996D9}"/>
                </a:ext>
              </a:extLst>
            </p:cNvPr>
            <p:cNvGrpSpPr/>
            <p:nvPr userDrawn="1"/>
          </p:nvGrpSpPr>
          <p:grpSpPr>
            <a:xfrm rot="10800000">
              <a:off x="-2" y="3428999"/>
              <a:ext cx="12192002" cy="3429001"/>
              <a:chOff x="-2" y="-1"/>
              <a:chExt cx="12192002" cy="3429001"/>
            </a:xfrm>
            <a:solidFill>
              <a:schemeClr val="tx2"/>
            </a:solidFill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8852C5-86D9-8DB4-6B37-3F44D62C9333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260985" cy="3429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3EB81AE1-23B7-B89C-BE59-21F90C922ADF}"/>
                  </a:ext>
                </a:extLst>
              </p:cNvPr>
              <p:cNvSpPr/>
              <p:nvPr userDrawn="1"/>
            </p:nvSpPr>
            <p:spPr>
              <a:xfrm>
                <a:off x="11931015" y="0"/>
                <a:ext cx="260985" cy="3429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A1611FA3-DA7E-C9B0-8AC2-C56ADF1A30C2}"/>
                  </a:ext>
                </a:extLst>
              </p:cNvPr>
              <p:cNvSpPr/>
              <p:nvPr userDrawn="1"/>
            </p:nvSpPr>
            <p:spPr>
              <a:xfrm rot="16200000">
                <a:off x="5965505" y="-5965508"/>
                <a:ext cx="260985" cy="121919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9AA0FC-320D-21BE-F008-BC93B411583D}"/>
              </a:ext>
            </a:extLst>
          </p:cNvPr>
          <p:cNvGrpSpPr/>
          <p:nvPr userDrawn="1"/>
        </p:nvGrpSpPr>
        <p:grpSpPr>
          <a:xfrm>
            <a:off x="9418769" y="0"/>
            <a:ext cx="1384937" cy="381000"/>
            <a:chOff x="7078980" y="1"/>
            <a:chExt cx="1384937" cy="38100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F5131FA-8C8B-CCFD-DC07-E052E0AF4011}"/>
                </a:ext>
              </a:extLst>
            </p:cNvPr>
            <p:cNvSpPr/>
            <p:nvPr userDrawn="1"/>
          </p:nvSpPr>
          <p:spPr>
            <a:xfrm rot="16200000">
              <a:off x="7580949" y="-501968"/>
              <a:ext cx="381000" cy="13849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51" name="Picture 50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1C6AFC67-B306-A5FC-D309-71CCDAA278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8613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hapitre 1 photo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EE21A52-2432-7135-D01D-2E649D9D37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525598"/>
            <a:ext cx="5570434" cy="580680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58C26C0-11EA-372F-4C40-5860B9D07D31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6" name="Google Shape;312;p50" title="COGEDIM_Blocmarque_RVB.png">
            <a:extLst>
              <a:ext uri="{FF2B5EF4-FFF2-40B4-BE49-F238E27FC236}">
                <a16:creationId xmlns:a16="http://schemas.microsoft.com/office/drawing/2014/main" id="{577AEBA1-6765-1E7D-1A24-000539460318}"/>
              </a:ext>
            </a:extLst>
          </p:cNvPr>
          <p:cNvPicPr preferRelativeResize="0"/>
          <p:nvPr userDrawn="1"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58D2499D-959E-1FBC-6F8D-57118CE7BC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939" y="1076017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FD31ADA-8690-97BA-40A2-68FB1C2D0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6000" y="3552066"/>
            <a:ext cx="4404353" cy="1570686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trois lignes maximum</a:t>
            </a:r>
            <a:endParaRPr lang="fr-FR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311F002-1D65-CC2D-89FF-AC943D07D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5329273"/>
            <a:ext cx="440435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</a:p>
        </p:txBody>
      </p:sp>
      <p:pic>
        <p:nvPicPr>
          <p:cNvPr id="11" name="Picture 10" descr="A person and person holding a child&#10;&#10;AI-generated content may be incorrect.">
            <a:extLst>
              <a:ext uri="{FF2B5EF4-FFF2-40B4-BE49-F238E27FC236}">
                <a16:creationId xmlns:a16="http://schemas.microsoft.com/office/drawing/2014/main" id="{D1373D9D-805E-7F62-6928-2FA11E31D5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96455" y="1478081"/>
            <a:ext cx="6069977" cy="4854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4808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hapitre 1.1 photo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58D2499D-959E-1FBC-6F8D-57118CE7BC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939" y="1076017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FD31ADA-8690-97BA-40A2-68FB1C2D0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6000" y="3552066"/>
            <a:ext cx="4404353" cy="1570686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trois lignes maximum</a:t>
            </a:r>
            <a:endParaRPr lang="fr-FR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311F002-1D65-CC2D-89FF-AC943D07D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5329273"/>
            <a:ext cx="440435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DF38CA2-E73F-4C93-2027-6DF90E7106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525463"/>
            <a:ext cx="5570220" cy="5806800"/>
          </a:xfrm>
          <a:custGeom>
            <a:avLst/>
            <a:gdLst>
              <a:gd name="connsiteX0" fmla="*/ 1380782 w 5570220"/>
              <a:gd name="connsiteY0" fmla="*/ 0 h 5806800"/>
              <a:gd name="connsiteX1" fmla="*/ 5570220 w 5570220"/>
              <a:gd name="connsiteY1" fmla="*/ 0 h 5806800"/>
              <a:gd name="connsiteX2" fmla="*/ 5570220 w 5570220"/>
              <a:gd name="connsiteY2" fmla="*/ 5806800 h 5806800"/>
              <a:gd name="connsiteX3" fmla="*/ 0 w 5570220"/>
              <a:gd name="connsiteY3" fmla="*/ 5806800 h 5806800"/>
              <a:gd name="connsiteX4" fmla="*/ 0 w 5570220"/>
              <a:gd name="connsiteY4" fmla="*/ 427810 h 5806800"/>
              <a:gd name="connsiteX5" fmla="*/ 1380782 w 5570220"/>
              <a:gd name="connsiteY5" fmla="*/ 427810 h 580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70220" h="5806800">
                <a:moveTo>
                  <a:pt x="1380782" y="0"/>
                </a:moveTo>
                <a:lnTo>
                  <a:pt x="5570220" y="0"/>
                </a:lnTo>
                <a:lnTo>
                  <a:pt x="5570220" y="5806800"/>
                </a:lnTo>
                <a:lnTo>
                  <a:pt x="0" y="5806800"/>
                </a:lnTo>
                <a:lnTo>
                  <a:pt x="0" y="427810"/>
                </a:lnTo>
                <a:lnTo>
                  <a:pt x="1380782" y="4278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74666D3-6E60-3DB8-8EA7-9A79C0AB03A3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9" name="Google Shape;312;p50" title="COGEDIM_Blocmarque_RVB.png">
            <a:extLst>
              <a:ext uri="{FF2B5EF4-FFF2-40B4-BE49-F238E27FC236}">
                <a16:creationId xmlns:a16="http://schemas.microsoft.com/office/drawing/2014/main" id="{4260D2D7-1F94-9CF4-878B-F17D7B1D3E36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9133" y="-11331"/>
            <a:ext cx="2773733" cy="964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12004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Chapitre 2 photo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E9BD7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58D2499D-959E-1FBC-6F8D-57118CE7BC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939" y="1076017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E9BD74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FD31ADA-8690-97BA-40A2-68FB1C2D0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6000" y="3552066"/>
            <a:ext cx="4404353" cy="1570686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trois lignes maximum</a:t>
            </a:r>
            <a:endParaRPr lang="fr-FR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311F002-1D65-CC2D-89FF-AC943D07D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5329273"/>
            <a:ext cx="440435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67C301-EE97-04E8-849F-168C1B4D32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525463"/>
            <a:ext cx="5570220" cy="5806800"/>
          </a:xfrm>
          <a:custGeom>
            <a:avLst/>
            <a:gdLst>
              <a:gd name="connsiteX0" fmla="*/ 1380782 w 5570220"/>
              <a:gd name="connsiteY0" fmla="*/ 0 h 5806800"/>
              <a:gd name="connsiteX1" fmla="*/ 5570220 w 5570220"/>
              <a:gd name="connsiteY1" fmla="*/ 0 h 5806800"/>
              <a:gd name="connsiteX2" fmla="*/ 5570220 w 5570220"/>
              <a:gd name="connsiteY2" fmla="*/ 5806800 h 5806800"/>
              <a:gd name="connsiteX3" fmla="*/ 0 w 5570220"/>
              <a:gd name="connsiteY3" fmla="*/ 5806800 h 5806800"/>
              <a:gd name="connsiteX4" fmla="*/ 0 w 5570220"/>
              <a:gd name="connsiteY4" fmla="*/ 427810 h 5806800"/>
              <a:gd name="connsiteX5" fmla="*/ 1380782 w 5570220"/>
              <a:gd name="connsiteY5" fmla="*/ 427810 h 580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70220" h="5806800">
                <a:moveTo>
                  <a:pt x="1380782" y="0"/>
                </a:moveTo>
                <a:lnTo>
                  <a:pt x="5570220" y="0"/>
                </a:lnTo>
                <a:lnTo>
                  <a:pt x="5570220" y="5806800"/>
                </a:lnTo>
                <a:lnTo>
                  <a:pt x="0" y="5806800"/>
                </a:lnTo>
                <a:lnTo>
                  <a:pt x="0" y="427810"/>
                </a:lnTo>
                <a:lnTo>
                  <a:pt x="1380782" y="4278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88CFB1-8906-2B15-2FA2-D61B72B5FB10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6" name="Google Shape;312;p50" title="COGEDIM_Blocmarque_RVB.png">
            <a:extLst>
              <a:ext uri="{FF2B5EF4-FFF2-40B4-BE49-F238E27FC236}">
                <a16:creationId xmlns:a16="http://schemas.microsoft.com/office/drawing/2014/main" id="{577AEBA1-6765-1E7D-1A24-000539460318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9133" y="-11331"/>
            <a:ext cx="2773733" cy="964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88079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hapitre 3 photo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909D89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58D2499D-959E-1FBC-6F8D-57118CE7BC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939" y="1076017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909D89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FD31ADA-8690-97BA-40A2-68FB1C2D0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6000" y="3552066"/>
            <a:ext cx="4404353" cy="1570686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trois lignes maximum</a:t>
            </a:r>
            <a:endParaRPr lang="fr-FR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311F002-1D65-CC2D-89FF-AC943D07D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5329273"/>
            <a:ext cx="440435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2F66A11-0B0F-A5D0-9F99-4301C2D6EA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525463"/>
            <a:ext cx="5570220" cy="5806800"/>
          </a:xfrm>
          <a:custGeom>
            <a:avLst/>
            <a:gdLst>
              <a:gd name="connsiteX0" fmla="*/ 1380782 w 5570220"/>
              <a:gd name="connsiteY0" fmla="*/ 0 h 5806800"/>
              <a:gd name="connsiteX1" fmla="*/ 5570220 w 5570220"/>
              <a:gd name="connsiteY1" fmla="*/ 0 h 5806800"/>
              <a:gd name="connsiteX2" fmla="*/ 5570220 w 5570220"/>
              <a:gd name="connsiteY2" fmla="*/ 5806800 h 5806800"/>
              <a:gd name="connsiteX3" fmla="*/ 0 w 5570220"/>
              <a:gd name="connsiteY3" fmla="*/ 5806800 h 5806800"/>
              <a:gd name="connsiteX4" fmla="*/ 0 w 5570220"/>
              <a:gd name="connsiteY4" fmla="*/ 427810 h 5806800"/>
              <a:gd name="connsiteX5" fmla="*/ 1380782 w 5570220"/>
              <a:gd name="connsiteY5" fmla="*/ 427810 h 580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70220" h="5806800">
                <a:moveTo>
                  <a:pt x="1380782" y="0"/>
                </a:moveTo>
                <a:lnTo>
                  <a:pt x="5570220" y="0"/>
                </a:lnTo>
                <a:lnTo>
                  <a:pt x="5570220" y="5806800"/>
                </a:lnTo>
                <a:lnTo>
                  <a:pt x="0" y="5806800"/>
                </a:lnTo>
                <a:lnTo>
                  <a:pt x="0" y="427810"/>
                </a:lnTo>
                <a:lnTo>
                  <a:pt x="1380782" y="4278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CF94D57-6335-6ACD-979B-997EF2F40131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0" name="Google Shape;312;p50" title="COGEDIM_Blocmarque_RVB.png">
            <a:extLst>
              <a:ext uri="{FF2B5EF4-FFF2-40B4-BE49-F238E27FC236}">
                <a16:creationId xmlns:a16="http://schemas.microsoft.com/office/drawing/2014/main" id="{6CFA8B64-4126-5A70-278A-2524A4108509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9133" y="-11331"/>
            <a:ext cx="2773733" cy="964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22205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hapitre 4 photo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uple sitting on the floor&#10;&#10;AI-generated content may be incorrect.">
            <a:extLst>
              <a:ext uri="{FF2B5EF4-FFF2-40B4-BE49-F238E27FC236}">
                <a16:creationId xmlns:a16="http://schemas.microsoft.com/office/drawing/2014/main" id="{39944A42-723E-19C2-7CED-2D773C3FA5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9299BE9-FB23-8DB6-6C49-214DE3DDC9D0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85BACC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A66513-0588-AD5D-8424-2B7DA443DDF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6CD90B-8485-DE75-83BA-B98CEFFFF99B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0F980E-45FE-FD5E-F696-CF38C141D1FA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76FF803-AEFE-A587-A41B-182C63C3AF7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58D2499D-959E-1FBC-6F8D-57118CE7BC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939" y="1076017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85BACC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FD31ADA-8690-97BA-40A2-68FB1C2D0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6000" y="3552066"/>
            <a:ext cx="4404353" cy="1570686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itre du chapitre sur trois lignes maximum</a:t>
            </a:r>
            <a:endParaRPr lang="fr-FR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311F002-1D65-CC2D-89FF-AC943D07D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5329273"/>
            <a:ext cx="440435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FCCBF8C-7E2E-4B9D-7FF0-8467E019CF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525463"/>
            <a:ext cx="5570220" cy="5806800"/>
          </a:xfrm>
          <a:custGeom>
            <a:avLst/>
            <a:gdLst>
              <a:gd name="connsiteX0" fmla="*/ 1380782 w 5570220"/>
              <a:gd name="connsiteY0" fmla="*/ 0 h 5806800"/>
              <a:gd name="connsiteX1" fmla="*/ 5570220 w 5570220"/>
              <a:gd name="connsiteY1" fmla="*/ 0 h 5806800"/>
              <a:gd name="connsiteX2" fmla="*/ 5570220 w 5570220"/>
              <a:gd name="connsiteY2" fmla="*/ 5806800 h 5806800"/>
              <a:gd name="connsiteX3" fmla="*/ 0 w 5570220"/>
              <a:gd name="connsiteY3" fmla="*/ 5806800 h 5806800"/>
              <a:gd name="connsiteX4" fmla="*/ 0 w 5570220"/>
              <a:gd name="connsiteY4" fmla="*/ 427810 h 5806800"/>
              <a:gd name="connsiteX5" fmla="*/ 1380782 w 5570220"/>
              <a:gd name="connsiteY5" fmla="*/ 427810 h 580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70220" h="5806800">
                <a:moveTo>
                  <a:pt x="1380782" y="0"/>
                </a:moveTo>
                <a:lnTo>
                  <a:pt x="5570220" y="0"/>
                </a:lnTo>
                <a:lnTo>
                  <a:pt x="5570220" y="5806800"/>
                </a:lnTo>
                <a:lnTo>
                  <a:pt x="0" y="5806800"/>
                </a:lnTo>
                <a:lnTo>
                  <a:pt x="0" y="427810"/>
                </a:lnTo>
                <a:lnTo>
                  <a:pt x="1380782" y="4278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137793-F0C1-69BD-1E70-4FA4A01E7014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0" name="Google Shape;312;p50" title="COGEDIM_Blocmarque_RVB.png">
            <a:extLst>
              <a:ext uri="{FF2B5EF4-FFF2-40B4-BE49-F238E27FC236}">
                <a16:creationId xmlns:a16="http://schemas.microsoft.com/office/drawing/2014/main" id="{B2C9E60E-F08A-455F-B97A-63E94D34A6C0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9133" y="-11331"/>
            <a:ext cx="2773733" cy="964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09481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hapitre 1 tex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16A969A-3EFA-9033-FE93-1A0346B7B1B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8BD11364-58EA-F3BB-4590-85D493E1DD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1398" y="5412077"/>
            <a:ext cx="1009757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  <a:br>
              <a:rPr lang="fr-FR" spc="-120">
                <a:solidFill>
                  <a:schemeClr val="bg1"/>
                </a:solidFill>
              </a:rPr>
            </a:br>
            <a:r>
              <a:rPr lang="fr-FR" spc="-120">
                <a:solidFill>
                  <a:schemeClr val="bg1"/>
                </a:solidFill>
              </a:rPr>
              <a:t>Lorem ipsum dolor sit amet, consectetur adipiscing elit, sed do eiusmod tempor incididunt ut labore</a:t>
            </a:r>
            <a:endParaRPr lang="fr-FR" spc="-120" dirty="0">
              <a:solidFill>
                <a:schemeClr val="bg1"/>
              </a:solidFill>
            </a:endParaRP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6CD071B3-9E2E-A09D-CC52-8BB9D13AE1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399" y="4157841"/>
            <a:ext cx="10097573" cy="1053622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34DB4E39-FD91-BB9F-00B6-C3CF14C9F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739" y="1179262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CB63BB-0B37-D7AC-2442-FB8EA964FD72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F5DA96-9B11-CE4F-DFE0-A2764C6EE908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75E5C6-3D92-7CC2-D491-0FC23F09A810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1E66AB-9A35-F570-E01B-5F83FA72AE69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DCDEEF3-DE0B-D385-9955-AA99DE2F0E76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2" name="Google Shape;312;p50" title="COGEDIM_Blocmarque_RVB.png">
            <a:extLst>
              <a:ext uri="{FF2B5EF4-FFF2-40B4-BE49-F238E27FC236}">
                <a16:creationId xmlns:a16="http://schemas.microsoft.com/office/drawing/2014/main" id="{A240CB00-7A9F-9712-17DA-C119CB423207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220F837-2249-0B55-3070-8BA9F1172F13}"/>
              </a:ext>
            </a:extLst>
          </p:cNvPr>
          <p:cNvGrpSpPr/>
          <p:nvPr userDrawn="1"/>
        </p:nvGrpSpPr>
        <p:grpSpPr>
          <a:xfrm rot="10800000">
            <a:off x="0" y="3429000"/>
            <a:ext cx="12192000" cy="3429000"/>
            <a:chOff x="0" y="0"/>
            <a:chExt cx="12192000" cy="3429000"/>
          </a:xfrm>
          <a:solidFill>
            <a:schemeClr val="accent4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CD48636-7315-6776-E0EB-1280430AE36F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E9AD124-3AC7-C930-0649-4183BBAA023D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0445269-B417-F1B8-F936-4B731CEF72C5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16387819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Chapitre 1 tex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16A969A-3EFA-9033-FE93-1A0346B7B1B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8BD11364-58EA-F3BB-4590-85D493E1DD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1398" y="5412077"/>
            <a:ext cx="1009757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  <a:br>
              <a:rPr lang="fr-FR" spc="-120">
                <a:solidFill>
                  <a:schemeClr val="bg1"/>
                </a:solidFill>
              </a:rPr>
            </a:br>
            <a:r>
              <a:rPr lang="fr-FR" spc="-120">
                <a:solidFill>
                  <a:schemeClr val="bg1"/>
                </a:solidFill>
              </a:rPr>
              <a:t>Lorem ipsum dolor sit amet, consectetur adipiscing elit, sed do eiusmod tempor incididunt ut labore</a:t>
            </a:r>
            <a:endParaRPr lang="fr-FR" spc="-120" dirty="0">
              <a:solidFill>
                <a:schemeClr val="bg1"/>
              </a:solidFill>
            </a:endParaRP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6CD071B3-9E2E-A09D-CC52-8BB9D13AE1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399" y="4157841"/>
            <a:ext cx="10097573" cy="1053622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34DB4E39-FD91-BB9F-00B6-C3CF14C9F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739" y="1179262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E9BD74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CB63BB-0B37-D7AC-2442-FB8EA964FD72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E9BD74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F5DA96-9B11-CE4F-DFE0-A2764C6EE908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75E5C6-3D92-7CC2-D491-0FC23F09A810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1E66AB-9A35-F570-E01B-5F83FA72AE69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DCDEEF3-DE0B-D385-9955-AA99DE2F0E76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2" name="Google Shape;312;p50" title="COGEDIM_Blocmarque_RVB.png">
            <a:extLst>
              <a:ext uri="{FF2B5EF4-FFF2-40B4-BE49-F238E27FC236}">
                <a16:creationId xmlns:a16="http://schemas.microsoft.com/office/drawing/2014/main" id="{A240CB00-7A9F-9712-17DA-C119CB423207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7745526-34AC-6E08-E2C0-4B5291CFA480}"/>
              </a:ext>
            </a:extLst>
          </p:cNvPr>
          <p:cNvGrpSpPr/>
          <p:nvPr userDrawn="1"/>
        </p:nvGrpSpPr>
        <p:grpSpPr>
          <a:xfrm rot="10800000">
            <a:off x="0" y="3429000"/>
            <a:ext cx="12192000" cy="3429000"/>
            <a:chOff x="0" y="0"/>
            <a:chExt cx="12192000" cy="3429000"/>
          </a:xfrm>
          <a:solidFill>
            <a:srgbClr val="E9BD74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E8D8B23-E48E-042F-BD07-57463AAD8673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07B6070-2234-E23A-3602-6BF662C55DE6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C8B0B8D-81D7-0C90-8960-9AA4B785EF36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9983618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Chapitre 1 tex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2D7E2D3-9CFF-71F8-ED40-72EE83871349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909D89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916D67A-3B38-1C07-2726-3CE8D1992E63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103E0A-8B2C-F1E5-B006-32F1E0BF636A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5609640-91E8-7D63-9B09-CEDE4AC5F78B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816A969A-3EFA-9033-FE93-1A0346B7B1B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8BD11364-58EA-F3BB-4590-85D493E1DD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1398" y="5412077"/>
            <a:ext cx="1009757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  <a:br>
              <a:rPr lang="fr-FR" spc="-120">
                <a:solidFill>
                  <a:schemeClr val="bg1"/>
                </a:solidFill>
              </a:rPr>
            </a:br>
            <a:r>
              <a:rPr lang="fr-FR" spc="-120">
                <a:solidFill>
                  <a:schemeClr val="bg1"/>
                </a:solidFill>
              </a:rPr>
              <a:t>Lorem ipsum dolor sit amet, consectetur adipiscing elit, sed do eiusmod tempor incididunt ut labore</a:t>
            </a:r>
            <a:endParaRPr lang="fr-FR" spc="-120" dirty="0">
              <a:solidFill>
                <a:schemeClr val="bg1"/>
              </a:solidFill>
            </a:endParaRP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6CD071B3-9E2E-A09D-CC52-8BB9D13AE1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399" y="4157841"/>
            <a:ext cx="10097573" cy="1053622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34DB4E39-FD91-BB9F-00B6-C3CF14C9F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739" y="1179262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909D89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CB63BB-0B37-D7AC-2442-FB8EA964FD72}"/>
              </a:ext>
            </a:extLst>
          </p:cNvPr>
          <p:cNvGrpSpPr/>
          <p:nvPr userDrawn="1"/>
        </p:nvGrpSpPr>
        <p:grpSpPr>
          <a:xfrm rot="10800000">
            <a:off x="0" y="3429000"/>
            <a:ext cx="12192000" cy="3429000"/>
            <a:chOff x="0" y="0"/>
            <a:chExt cx="12192000" cy="3429000"/>
          </a:xfrm>
          <a:solidFill>
            <a:srgbClr val="909D89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F5DA96-9B11-CE4F-DFE0-A2764C6EE908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75E5C6-3D92-7CC2-D491-0FC23F09A810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1E66AB-9A35-F570-E01B-5F83FA72AE69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DCDEEF3-DE0B-D385-9955-AA99DE2F0E76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2" name="Google Shape;312;p50" title="COGEDIM_Blocmarque_RVB.png">
            <a:extLst>
              <a:ext uri="{FF2B5EF4-FFF2-40B4-BE49-F238E27FC236}">
                <a16:creationId xmlns:a16="http://schemas.microsoft.com/office/drawing/2014/main" id="{A240CB00-7A9F-9712-17DA-C119CB423207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9902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4EB73D7D-1CA0-4037-0A65-A7AE2B191157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F4EB24A-1F8D-090E-78B4-ABC54EAD14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EBE79556-829C-BC5A-4718-D4ECABA48B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53EE3DF8-4707-9EED-2C8E-06065416B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B95CF052-996F-4CAC-D175-E1DCB56ED0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1057" y="1889131"/>
            <a:ext cx="7298656" cy="4429239"/>
          </a:xfrm>
        </p:spPr>
        <p:txBody>
          <a:bodyPr numCol="1" spcCol="288000">
            <a:normAutofit/>
          </a:bodyPr>
          <a:lstStyle>
            <a:lvl1pPr marL="215963" indent="-215963" algn="l">
              <a:spcBef>
                <a:spcPts val="500"/>
              </a:spcBef>
              <a:buClr>
                <a:schemeClr val="tx2"/>
              </a:buClr>
              <a:buSzPct val="120000"/>
              <a:buFont typeface="Police système Courant"/>
              <a:buChar char="●"/>
              <a:defRPr sz="1451"/>
            </a:lvl1pPr>
            <a:lvl2pPr marL="79996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2pPr>
            <a:lvl3pPr marL="1257081" indent="-342842">
              <a:buClr>
                <a:schemeClr val="tx2"/>
              </a:buClr>
              <a:buSzPct val="80000"/>
              <a:buFont typeface="Police système Courant"/>
              <a:buChar char="●"/>
              <a:defRPr/>
            </a:lvl3pPr>
            <a:lvl4pPr marL="1657063" indent="-285704">
              <a:buClr>
                <a:schemeClr val="tx2"/>
              </a:buClr>
              <a:buSzPct val="80000"/>
              <a:buFont typeface="Police système Courant"/>
              <a:buChar char="●"/>
              <a:defRPr/>
            </a:lvl4pPr>
            <a:lvl5pPr marL="1828484" indent="0">
              <a:buClr>
                <a:schemeClr val="tx2"/>
              </a:buClr>
              <a:buSzPct val="80000"/>
              <a:buFont typeface="Police système Courant"/>
              <a:buNone/>
              <a:defRPr/>
            </a:lvl5pPr>
          </a:lstStyle>
          <a:p>
            <a:pPr lvl="0"/>
            <a:r>
              <a:rPr lang="fr-FR" dirty="0">
                <a:effectLst/>
              </a:rPr>
              <a:t>Argument 1</a:t>
            </a:r>
          </a:p>
          <a:p>
            <a:pPr lvl="0"/>
            <a:r>
              <a:rPr lang="fr-FR" dirty="0">
                <a:effectLst/>
              </a:rPr>
              <a:t>Argument 2</a:t>
            </a:r>
          </a:p>
          <a:p>
            <a:pPr lvl="0"/>
            <a:endParaRPr lang="fr-FR" dirty="0">
              <a:effectLst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83C1B453-6C7B-9779-4BD2-77355C2AD1FB}"/>
              </a:ext>
            </a:extLst>
          </p:cNvPr>
          <p:cNvCxnSpPr/>
          <p:nvPr userDrawn="1"/>
        </p:nvCxnSpPr>
        <p:spPr>
          <a:xfrm>
            <a:off x="9470574" y="2449285"/>
            <a:ext cx="2166259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24">
            <a:extLst>
              <a:ext uri="{FF2B5EF4-FFF2-40B4-BE49-F238E27FC236}">
                <a16:creationId xmlns:a16="http://schemas.microsoft.com/office/drawing/2014/main" id="{D2CD6A09-893B-78C0-9B93-9AF75D0D8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4" y="2449968"/>
            <a:ext cx="3565525" cy="872048"/>
          </a:xfrm>
          <a:solidFill>
            <a:schemeClr val="accent3">
              <a:lumMod val="20000"/>
              <a:lumOff val="80000"/>
            </a:schemeClr>
          </a:solidFill>
        </p:spPr>
        <p:txBody>
          <a:bodyPr wrap="square" lIns="180000" tIns="180000" rIns="180000" bIns="216000">
            <a:spAutoFit/>
          </a:bodyPr>
          <a:lstStyle>
            <a:lvl1pPr marL="179972" indent="-179972">
              <a:spcBef>
                <a:spcPts val="2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451"/>
            </a:lvl1pPr>
            <a:lvl2pPr marL="457120" indent="0">
              <a:buFontTx/>
              <a:buNone/>
              <a:defRPr/>
            </a:lvl2pPr>
            <a:lvl3pPr marL="914242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4" indent="0">
              <a:buFontTx/>
              <a:buNone/>
              <a:defRPr/>
            </a:lvl5pPr>
          </a:lstStyle>
          <a:p>
            <a:pPr lvl="0"/>
            <a:r>
              <a:rPr lang="fr-FR">
                <a:effectLst/>
              </a:rPr>
              <a:t>Argument 1</a:t>
            </a:r>
          </a:p>
          <a:p>
            <a:pPr lvl="0"/>
            <a:r>
              <a:rPr lang="fr-FR">
                <a:effectLst/>
              </a:rPr>
              <a:t>Argument 2</a:t>
            </a:r>
            <a:endParaRPr lang="fr-FR"/>
          </a:p>
        </p:txBody>
      </p:sp>
      <p:sp>
        <p:nvSpPr>
          <p:cNvPr id="9" name="Espace réservé du texte 31">
            <a:extLst>
              <a:ext uri="{FF2B5EF4-FFF2-40B4-BE49-F238E27FC236}">
                <a16:creationId xmlns:a16="http://schemas.microsoft.com/office/drawing/2014/main" id="{A2029D72-BF83-55A8-8B23-7B9AB3640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309" y="1889126"/>
            <a:ext cx="3565525" cy="56038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80000" tIns="180000" rIns="180000" bIns="180000">
            <a:noAutofit/>
          </a:bodyPr>
          <a:lstStyle>
            <a:lvl1pPr marL="12600" indent="0">
              <a:buFontTx/>
              <a:buNone/>
              <a:defRPr sz="1400"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bloc exergu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DC4E7EB-CDAE-CF83-CF86-8DA071190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68928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5087" userDrawn="1">
          <p15:clr>
            <a:srgbClr val="FBAE40"/>
          </p15:clr>
        </p15:guide>
        <p15:guide id="4" pos="4951" userDrawn="1">
          <p15:clr>
            <a:srgbClr val="FBAE40"/>
          </p15:clr>
        </p15:guide>
        <p15:guide id="7" orient="horz" pos="255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Chapitre 1 tex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16A969A-3EFA-9033-FE93-1A0346B7B1B7}"/>
              </a:ext>
            </a:extLst>
          </p:cNvPr>
          <p:cNvSpPr/>
          <p:nvPr userDrawn="1"/>
        </p:nvSpPr>
        <p:spPr>
          <a:xfrm>
            <a:off x="525563" y="525600"/>
            <a:ext cx="11140872" cy="580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8BD11364-58EA-F3BB-4590-85D493E1DD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1398" y="5412077"/>
            <a:ext cx="10097573" cy="553998"/>
          </a:xfrm>
        </p:spPr>
        <p:txBody>
          <a:bodyPr wrap="square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US" sz="1800" kern="1200" spc="-12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/>
            <a:r>
              <a:rPr lang="fr-FR" spc="-120" dirty="0">
                <a:solidFill>
                  <a:schemeClr val="bg1"/>
                </a:solidFill>
              </a:rPr>
              <a:t>Sous-titre du chapitre sur deux lignes maximum</a:t>
            </a:r>
            <a:br>
              <a:rPr lang="fr-FR" spc="-120">
                <a:solidFill>
                  <a:schemeClr val="bg1"/>
                </a:solidFill>
              </a:rPr>
            </a:br>
            <a:r>
              <a:rPr lang="fr-FR" spc="-120">
                <a:solidFill>
                  <a:schemeClr val="bg1"/>
                </a:solidFill>
              </a:rPr>
              <a:t>Lorem ipsum dolor sit amet, consectetur adipiscing elit, sed do eiusmod tempor incididunt ut labore</a:t>
            </a:r>
            <a:endParaRPr lang="fr-FR" spc="-120" dirty="0">
              <a:solidFill>
                <a:schemeClr val="bg1"/>
              </a:solidFill>
            </a:endParaRP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6CD071B3-9E2E-A09D-CC52-8BB9D13AE1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399" y="4157841"/>
            <a:ext cx="10097573" cy="1053622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4200" b="1" kern="1200" spc="-1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/>
              <a:t>Titre du chapitre sur une ou deux lignes</a:t>
            </a:r>
            <a:endParaRPr lang="fr-FR" dirty="0"/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34DB4E39-FD91-BB9F-00B6-C3CF14C9F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739" y="1179262"/>
            <a:ext cx="2918748" cy="2044021"/>
          </a:xfrm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80000"/>
              </a:lnSpc>
              <a:defRPr lang="en-US" sz="16000" kern="1200" spc="-120" dirty="0" smtClean="0">
                <a:solidFill>
                  <a:srgbClr val="85BACC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CB63BB-0B37-D7AC-2442-FB8EA964FD72}"/>
              </a:ext>
            </a:extLst>
          </p:cNvPr>
          <p:cNvGrpSpPr/>
          <p:nvPr userDrawn="1"/>
        </p:nvGrpSpPr>
        <p:grpSpPr>
          <a:xfrm>
            <a:off x="0" y="0"/>
            <a:ext cx="12192000" cy="3429000"/>
            <a:chOff x="0" y="0"/>
            <a:chExt cx="12192000" cy="3429000"/>
          </a:xfrm>
          <a:solidFill>
            <a:srgbClr val="85BACC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F5DA96-9B11-CE4F-DFE0-A2764C6EE908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75E5C6-3D92-7CC2-D491-0FC23F09A810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1E66AB-9A35-F570-E01B-5F83FA72AE69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DCDEEF3-DE0B-D385-9955-AA99DE2F0E76}"/>
              </a:ext>
            </a:extLst>
          </p:cNvPr>
          <p:cNvSpPr/>
          <p:nvPr userDrawn="1"/>
        </p:nvSpPr>
        <p:spPr>
          <a:xfrm>
            <a:off x="4715218" y="2"/>
            <a:ext cx="2761564" cy="9532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2" name="Google Shape;312;p50" title="COGEDIM_Blocmarque_RVB.png">
            <a:extLst>
              <a:ext uri="{FF2B5EF4-FFF2-40B4-BE49-F238E27FC236}">
                <a16:creationId xmlns:a16="http://schemas.microsoft.com/office/drawing/2014/main" id="{A240CB00-7A9F-9712-17DA-C119CB423207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33" y="-83146"/>
            <a:ext cx="2773733" cy="11308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0719CC2-B757-770D-1B08-437CBA366884}"/>
              </a:ext>
            </a:extLst>
          </p:cNvPr>
          <p:cNvGrpSpPr/>
          <p:nvPr userDrawn="1"/>
        </p:nvGrpSpPr>
        <p:grpSpPr>
          <a:xfrm rot="10800000">
            <a:off x="0" y="3429000"/>
            <a:ext cx="12192000" cy="3429000"/>
            <a:chOff x="0" y="0"/>
            <a:chExt cx="12192000" cy="3429000"/>
          </a:xfrm>
          <a:solidFill>
            <a:srgbClr val="85BACC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90124B5-4F86-3F20-2BF7-F12A8C3D181A}"/>
                </a:ext>
              </a:extLst>
            </p:cNvPr>
            <p:cNvSpPr/>
            <p:nvPr userDrawn="1"/>
          </p:nvSpPr>
          <p:spPr>
            <a:xfrm>
              <a:off x="11666434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A0AF1D4-68CB-17F0-F0C6-AF9585696FE6}"/>
                </a:ext>
              </a:extLst>
            </p:cNvPr>
            <p:cNvSpPr/>
            <p:nvPr userDrawn="1"/>
          </p:nvSpPr>
          <p:spPr>
            <a:xfrm>
              <a:off x="0" y="0"/>
              <a:ext cx="525566" cy="3429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D22C427-BD5E-23B2-AF45-495D8FF758C6}"/>
                </a:ext>
              </a:extLst>
            </p:cNvPr>
            <p:cNvSpPr/>
            <p:nvPr userDrawn="1"/>
          </p:nvSpPr>
          <p:spPr>
            <a:xfrm rot="16200000">
              <a:off x="5833216" y="-5833216"/>
              <a:ext cx="525566" cy="12191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4374997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1763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2B1C93-B800-D862-0657-55DDC225B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fr-FR"/>
              <a:t>Titre de la slide sur une ou plusieurs lignes</a:t>
            </a:r>
            <a:endParaRPr lang="fr-FR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B44E76-09C0-9B11-0E70-EC25445363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20" name="Slide Number Placeholder 7">
            <a:extLst>
              <a:ext uri="{FF2B5EF4-FFF2-40B4-BE49-F238E27FC236}">
                <a16:creationId xmlns:a16="http://schemas.microsoft.com/office/drawing/2014/main" id="{022C68C0-D7E4-72B7-C7E0-A4DC7D85B1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5321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2B1C93-B800-D862-0657-55DDC225B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fr-FR"/>
              <a:t>Titre de la slide sur une ou plusieurs lignes</a:t>
            </a:r>
            <a:endParaRPr lang="fr-FR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B44E76-09C0-9B11-0E70-EC25445363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79937FD-E83F-4F2B-8571-E30E725958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125" y="1769110"/>
            <a:ext cx="10947400" cy="42786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0055145D-224D-7C9D-C29B-35D217F570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8809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3DC8049-547E-88F3-62AA-03656461932F}"/>
              </a:ext>
            </a:extLst>
          </p:cNvPr>
          <p:cNvSpPr/>
          <p:nvPr userDrawn="1"/>
        </p:nvSpPr>
        <p:spPr>
          <a:xfrm>
            <a:off x="6096001" y="262889"/>
            <a:ext cx="5826759" cy="6328411"/>
          </a:xfrm>
          <a:custGeom>
            <a:avLst/>
            <a:gdLst>
              <a:gd name="connsiteX0" fmla="*/ 0 w 5826759"/>
              <a:gd name="connsiteY0" fmla="*/ 0 h 6332220"/>
              <a:gd name="connsiteX1" fmla="*/ 3322321 w 5826759"/>
              <a:gd name="connsiteY1" fmla="*/ 0 h 6332220"/>
              <a:gd name="connsiteX2" fmla="*/ 3322321 w 5826759"/>
              <a:gd name="connsiteY2" fmla="*/ 121919 h 6332220"/>
              <a:gd name="connsiteX3" fmla="*/ 4707257 w 5826759"/>
              <a:gd name="connsiteY3" fmla="*/ 121919 h 6332220"/>
              <a:gd name="connsiteX4" fmla="*/ 4707257 w 5826759"/>
              <a:gd name="connsiteY4" fmla="*/ 0 h 6332220"/>
              <a:gd name="connsiteX5" fmla="*/ 5826759 w 5826759"/>
              <a:gd name="connsiteY5" fmla="*/ 0 h 6332220"/>
              <a:gd name="connsiteX6" fmla="*/ 5826759 w 5826759"/>
              <a:gd name="connsiteY6" fmla="*/ 6332220 h 6332220"/>
              <a:gd name="connsiteX7" fmla="*/ 0 w 5826759"/>
              <a:gd name="connsiteY7" fmla="*/ 6332220 h 633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26759" h="6332220">
                <a:moveTo>
                  <a:pt x="0" y="0"/>
                </a:moveTo>
                <a:lnTo>
                  <a:pt x="3322321" y="0"/>
                </a:lnTo>
                <a:lnTo>
                  <a:pt x="3322321" y="121919"/>
                </a:lnTo>
                <a:lnTo>
                  <a:pt x="4707257" y="121919"/>
                </a:lnTo>
                <a:lnTo>
                  <a:pt x="4707257" y="0"/>
                </a:lnTo>
                <a:lnTo>
                  <a:pt x="5826759" y="0"/>
                </a:lnTo>
                <a:lnTo>
                  <a:pt x="5826759" y="6332220"/>
                </a:lnTo>
                <a:lnTo>
                  <a:pt x="0" y="633222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/>
          </a:p>
        </p:txBody>
      </p:sp>
      <p:pic>
        <p:nvPicPr>
          <p:cNvPr id="17" name="Picture 16" descr="A person holding a child up&#10;&#10;AI-generated content may be incorrect.">
            <a:extLst>
              <a:ext uri="{FF2B5EF4-FFF2-40B4-BE49-F238E27FC236}">
                <a16:creationId xmlns:a16="http://schemas.microsoft.com/office/drawing/2014/main" id="{B9086FD5-AB5D-3522-8E91-5FB8B301ED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1180" y="259081"/>
            <a:ext cx="6560820" cy="633222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530EB07-D250-4E41-C901-25B347C8A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666" y="879731"/>
            <a:ext cx="5032859" cy="792974"/>
          </a:xfrm>
        </p:spPr>
        <p:txBody>
          <a:bodyPr anchor="t"/>
          <a:lstStyle>
            <a:lvl1pPr>
              <a:defRPr/>
            </a:lvl1pPr>
          </a:lstStyle>
          <a:p>
            <a:r>
              <a:rPr lang="fr-FR"/>
              <a:t>Titre de la slide sur une ou deux lignes</a:t>
            </a:r>
            <a:endParaRPr lang="fr-FR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6906B02-6D94-A74C-9F58-7359208629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9666" y="607549"/>
            <a:ext cx="5032859" cy="107722"/>
          </a:xfrm>
        </p:spPr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87AC761-E727-A8C7-5392-AA89C00B19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125" y="2137410"/>
            <a:ext cx="5032859" cy="39103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34" name="Slide Number Placeholder 7">
            <a:extLst>
              <a:ext uri="{FF2B5EF4-FFF2-40B4-BE49-F238E27FC236}">
                <a16:creationId xmlns:a16="http://schemas.microsoft.com/office/drawing/2014/main" id="{3C7E0A6D-5F65-5C53-7643-81A43B10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EF983A3-2E01-2B84-340C-9D242CCC7A0F}"/>
              </a:ext>
            </a:extLst>
          </p:cNvPr>
          <p:cNvGrpSpPr/>
          <p:nvPr userDrawn="1"/>
        </p:nvGrpSpPr>
        <p:grpSpPr>
          <a:xfrm>
            <a:off x="9414511" y="0"/>
            <a:ext cx="1392557" cy="381000"/>
            <a:chOff x="7074722" y="1"/>
            <a:chExt cx="1392557" cy="381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2D510FB-EEDA-4006-4DA0-514459185979}"/>
                </a:ext>
              </a:extLst>
            </p:cNvPr>
            <p:cNvSpPr/>
            <p:nvPr userDrawn="1"/>
          </p:nvSpPr>
          <p:spPr>
            <a:xfrm rot="16200000">
              <a:off x="7580501" y="-505778"/>
              <a:ext cx="381000" cy="1392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4" name="Picture 3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3B0290B4-4AAF-E422-E468-377319339D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0758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exte + Photo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0530EB07-D250-4E41-C901-25B347C8A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666" y="879731"/>
            <a:ext cx="5032859" cy="792974"/>
          </a:xfrm>
        </p:spPr>
        <p:txBody>
          <a:bodyPr anchor="t"/>
          <a:lstStyle>
            <a:lvl1pPr>
              <a:defRPr/>
            </a:lvl1pPr>
          </a:lstStyle>
          <a:p>
            <a:r>
              <a:rPr lang="fr-FR"/>
              <a:t>Titre de la slide sur une ou deux lignes</a:t>
            </a:r>
            <a:endParaRPr lang="fr-FR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6906B02-6D94-A74C-9F58-7359208629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9666" y="607549"/>
            <a:ext cx="5032859" cy="107722"/>
          </a:xfrm>
        </p:spPr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87AC761-E727-A8C7-5392-AA89C00B19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125" y="2137410"/>
            <a:ext cx="5032859" cy="39103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36" name="Slide Number Placeholder 7">
            <a:extLst>
              <a:ext uri="{FF2B5EF4-FFF2-40B4-BE49-F238E27FC236}">
                <a16:creationId xmlns:a16="http://schemas.microsoft.com/office/drawing/2014/main" id="{720A05E9-6224-FCF0-1EE9-53E8E91B0A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BB78AE-F491-5690-EF12-4BDA8A80A1B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268492"/>
            <a:ext cx="5836921" cy="6325348"/>
          </a:xfrm>
          <a:custGeom>
            <a:avLst/>
            <a:gdLst>
              <a:gd name="connsiteX0" fmla="*/ 0 w 5836920"/>
              <a:gd name="connsiteY0" fmla="*/ 0 h 6325348"/>
              <a:gd name="connsiteX1" fmla="*/ 3322321 w 5836920"/>
              <a:gd name="connsiteY1" fmla="*/ 0 h 6325348"/>
              <a:gd name="connsiteX2" fmla="*/ 3322321 w 5836920"/>
              <a:gd name="connsiteY2" fmla="*/ 112508 h 6325348"/>
              <a:gd name="connsiteX3" fmla="*/ 4707257 w 5836920"/>
              <a:gd name="connsiteY3" fmla="*/ 112508 h 6325348"/>
              <a:gd name="connsiteX4" fmla="*/ 4707257 w 5836920"/>
              <a:gd name="connsiteY4" fmla="*/ 0 h 6325348"/>
              <a:gd name="connsiteX5" fmla="*/ 5836920 w 5836920"/>
              <a:gd name="connsiteY5" fmla="*/ 0 h 6325348"/>
              <a:gd name="connsiteX6" fmla="*/ 5836920 w 5836920"/>
              <a:gd name="connsiteY6" fmla="*/ 6325348 h 6325348"/>
              <a:gd name="connsiteX7" fmla="*/ 0 w 5836920"/>
              <a:gd name="connsiteY7" fmla="*/ 6325348 h 6325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36920" h="6325348">
                <a:moveTo>
                  <a:pt x="0" y="0"/>
                </a:moveTo>
                <a:lnTo>
                  <a:pt x="3322321" y="0"/>
                </a:lnTo>
                <a:lnTo>
                  <a:pt x="3322321" y="112508"/>
                </a:lnTo>
                <a:lnTo>
                  <a:pt x="4707257" y="112508"/>
                </a:lnTo>
                <a:lnTo>
                  <a:pt x="4707257" y="0"/>
                </a:lnTo>
                <a:lnTo>
                  <a:pt x="5836920" y="0"/>
                </a:lnTo>
                <a:lnTo>
                  <a:pt x="5836920" y="6325348"/>
                </a:lnTo>
                <a:lnTo>
                  <a:pt x="0" y="63253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A7F27F-B2A4-A4A0-8CD7-EECCD558B066}"/>
              </a:ext>
            </a:extLst>
          </p:cNvPr>
          <p:cNvGrpSpPr/>
          <p:nvPr userDrawn="1"/>
        </p:nvGrpSpPr>
        <p:grpSpPr>
          <a:xfrm>
            <a:off x="9414511" y="0"/>
            <a:ext cx="1392557" cy="381000"/>
            <a:chOff x="7074722" y="1"/>
            <a:chExt cx="1392557" cy="381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CFCF8B2-10A0-5EAE-D77C-AC1DD15868A3}"/>
                </a:ext>
              </a:extLst>
            </p:cNvPr>
            <p:cNvSpPr/>
            <p:nvPr userDrawn="1"/>
          </p:nvSpPr>
          <p:spPr>
            <a:xfrm rot="16200000">
              <a:off x="7580501" y="-505778"/>
              <a:ext cx="381000" cy="1392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5" name="Picture 4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59900CC4-4B46-41F9-353D-C5000C8C83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5601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2B1C93-B800-D862-0657-55DDC225B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fr-FR"/>
              <a:t>Titre de la slide sur une ligne</a:t>
            </a:r>
            <a:endParaRPr lang="fr-FR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B44E76-09C0-9B11-0E70-EC25445363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545C665-DB29-8AEB-5325-A2061C7765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8" y="3802379"/>
            <a:ext cx="3038400" cy="22475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4F5EBE0-92BB-7C59-AF27-AE179F7A52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28162" y="3802379"/>
            <a:ext cx="3038400" cy="22475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FD590CFD-3C27-6DBC-4415-176F4C1FD6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4213" y="3802379"/>
            <a:ext cx="3038400" cy="22475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C5977EAC-6FEB-D135-5610-C940CCFAE6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8" y="2654300"/>
            <a:ext cx="3055198" cy="738664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600" kern="1200" dirty="0">
                <a:solidFill>
                  <a:schemeClr val="tx2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SOUS-TITRE OU MOT CLÉ SUR UNE OU PLUSIEURS LIGNES</a:t>
            </a:r>
            <a:endParaRPr lang="fr-FR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F04FB8F5-8F4D-B8F8-C77D-4D5545C49D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4213" y="2654300"/>
            <a:ext cx="3055198" cy="738664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600" kern="1200" dirty="0">
                <a:solidFill>
                  <a:schemeClr val="tx2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SOUS-TITRE OU MOT CLÉ SUR UNE OU PLUSIEURS LIGNES</a:t>
            </a:r>
            <a:endParaRPr lang="fr-FR" dirty="0"/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5E3294CD-EC5F-E19B-AA09-12F28F94B1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1364" y="2654300"/>
            <a:ext cx="3055198" cy="738664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600" kern="1200" dirty="0">
                <a:solidFill>
                  <a:schemeClr val="tx2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SOUS-TITRE OU MOT CLÉ SUR UNE OU PLUSIEURS LIGNES</a:t>
            </a:r>
            <a:endParaRPr lang="fr-FR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E467CB3-7DA8-FBB4-85DF-BEB25F72F5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658" y="1808319"/>
            <a:ext cx="2622802" cy="626701"/>
          </a:xfrm>
          <a:solidFill>
            <a:schemeClr val="accent3"/>
          </a:solidFill>
        </p:spPr>
        <p:txBody>
          <a:bodyPr wrap="square" lIns="72000" tIns="36000" rIns="72000" bIns="36000">
            <a:spAutoFit/>
          </a:bodyPr>
          <a:lstStyle>
            <a:lvl1pPr>
              <a:lnSpc>
                <a:spcPct val="100000"/>
              </a:lnSpc>
              <a:defRPr lang="fr-FR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iffre clé</a:t>
            </a:r>
            <a:endParaRPr lang="fr-FR" dirty="0"/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EB96F9A5-D773-B15C-F8A4-9DEFBB9F89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4213" y="1808319"/>
            <a:ext cx="2622802" cy="626701"/>
          </a:xfrm>
          <a:solidFill>
            <a:schemeClr val="accent2"/>
          </a:solidFill>
        </p:spPr>
        <p:txBody>
          <a:bodyPr wrap="square" lIns="72000" tIns="36000" rIns="72000" bIns="36000">
            <a:spAutoFit/>
          </a:bodyPr>
          <a:lstStyle>
            <a:lvl1pPr>
              <a:lnSpc>
                <a:spcPct val="100000"/>
              </a:lnSpc>
              <a:defRPr lang="fr-FR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iffre clé</a:t>
            </a:r>
            <a:endParaRPr lang="fr-FR" dirty="0"/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D9ECD295-7137-B276-2EE9-C93A3C4D8D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1364" y="1808319"/>
            <a:ext cx="2622802" cy="626701"/>
          </a:xfrm>
          <a:solidFill>
            <a:schemeClr val="accent1"/>
          </a:solidFill>
        </p:spPr>
        <p:txBody>
          <a:bodyPr wrap="square" lIns="72000" tIns="36000" rIns="72000" bIns="36000">
            <a:spAutoFit/>
          </a:bodyPr>
          <a:lstStyle>
            <a:lvl1pPr>
              <a:lnSpc>
                <a:spcPct val="100000"/>
              </a:lnSpc>
              <a:defRPr lang="fr-FR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iffre clé</a:t>
            </a:r>
            <a:endParaRPr lang="fr-FR" dirty="0"/>
          </a:p>
        </p:txBody>
      </p: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id="{84274934-07CE-D531-42DB-7689609063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7555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ictogram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CF27609-FDE6-B900-17FC-9CD1B521CCDA}"/>
              </a:ext>
            </a:extLst>
          </p:cNvPr>
          <p:cNvSpPr>
            <a:spLocks/>
          </p:cNvSpPr>
          <p:nvPr userDrawn="1"/>
        </p:nvSpPr>
        <p:spPr>
          <a:xfrm>
            <a:off x="8135621" y="260986"/>
            <a:ext cx="3799204" cy="6334124"/>
          </a:xfrm>
          <a:custGeom>
            <a:avLst/>
            <a:gdLst>
              <a:gd name="connsiteX0" fmla="*/ 0 w 3799204"/>
              <a:gd name="connsiteY0" fmla="*/ 0 h 6334124"/>
              <a:gd name="connsiteX1" fmla="*/ 1282701 w 3799204"/>
              <a:gd name="connsiteY1" fmla="*/ 0 h 6334124"/>
              <a:gd name="connsiteX2" fmla="*/ 1282701 w 3799204"/>
              <a:gd name="connsiteY2" fmla="*/ 120014 h 6334124"/>
              <a:gd name="connsiteX3" fmla="*/ 2667637 w 3799204"/>
              <a:gd name="connsiteY3" fmla="*/ 120014 h 6334124"/>
              <a:gd name="connsiteX4" fmla="*/ 2667637 w 3799204"/>
              <a:gd name="connsiteY4" fmla="*/ 0 h 6334124"/>
              <a:gd name="connsiteX5" fmla="*/ 3799204 w 3799204"/>
              <a:gd name="connsiteY5" fmla="*/ 0 h 6334124"/>
              <a:gd name="connsiteX6" fmla="*/ 3799204 w 3799204"/>
              <a:gd name="connsiteY6" fmla="*/ 6334124 h 6334124"/>
              <a:gd name="connsiteX7" fmla="*/ 0 w 3799204"/>
              <a:gd name="connsiteY7" fmla="*/ 6334124 h 6334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99204" h="6334124">
                <a:moveTo>
                  <a:pt x="0" y="0"/>
                </a:moveTo>
                <a:lnTo>
                  <a:pt x="1282701" y="0"/>
                </a:lnTo>
                <a:lnTo>
                  <a:pt x="1282701" y="120014"/>
                </a:lnTo>
                <a:lnTo>
                  <a:pt x="2667637" y="120014"/>
                </a:lnTo>
                <a:lnTo>
                  <a:pt x="2667637" y="0"/>
                </a:lnTo>
                <a:lnTo>
                  <a:pt x="3799204" y="0"/>
                </a:lnTo>
                <a:lnTo>
                  <a:pt x="3799204" y="6334124"/>
                </a:lnTo>
                <a:lnTo>
                  <a:pt x="0" y="6334124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/>
          </a:p>
        </p:txBody>
      </p:sp>
      <p:pic>
        <p:nvPicPr>
          <p:cNvPr id="3" name="Picture 2" descr="A person and person with a child&#10;&#10;AI-generated content may be incorrect.">
            <a:extLst>
              <a:ext uri="{FF2B5EF4-FFF2-40B4-BE49-F238E27FC236}">
                <a16:creationId xmlns:a16="http://schemas.microsoft.com/office/drawing/2014/main" id="{B32E9A64-9ADE-CF96-D457-154C82B27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3510" y="1809906"/>
            <a:ext cx="4041316" cy="4785201"/>
          </a:xfrm>
          <a:prstGeom prst="rect">
            <a:avLst/>
          </a:prstGeom>
        </p:spPr>
      </p:pic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EB6E3590-E133-7545-2F66-1B944B202BD0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613421" y="522673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9E14FEE0-54CA-264E-2A0F-91D63F76F113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28658" y="263424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530EB07-D250-4E41-C901-25B347C8A7D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19665" y="879731"/>
            <a:ext cx="5605702" cy="400559"/>
          </a:xfrm>
        </p:spPr>
        <p:txBody>
          <a:bodyPr wrap="none" anchor="t"/>
          <a:lstStyle>
            <a:lvl1pPr>
              <a:defRPr/>
            </a:lvl1pPr>
          </a:lstStyle>
          <a:p>
            <a:r>
              <a:rPr lang="fr-FR"/>
              <a:t>Titre de la slide sur une ligne</a:t>
            </a:r>
            <a:endParaRPr lang="fr-FR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6906B02-6D94-A74C-9F58-735920862939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619666" y="607549"/>
            <a:ext cx="5032859" cy="107722"/>
          </a:xfrm>
        </p:spPr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8708B666-AF92-B687-3C8B-DC83BDCF4952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4613421" y="263424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0927B6A8-D12B-E020-2643-04AA948F114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28658" y="522673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5407FC7-DBCA-D4FD-0220-253DE5724E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7960" y="4711110"/>
            <a:ext cx="1830629" cy="215444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49CE0020-667E-7B3A-9C09-78381CB2D9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2424" y="4711110"/>
            <a:ext cx="1830629" cy="215444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8AE3F783-C783-05D4-47CF-41C139E12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7960" y="2118618"/>
            <a:ext cx="1830629" cy="215444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B1ADFA2F-E9F2-2494-A9CE-503F0A3E99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32424" y="2118618"/>
            <a:ext cx="1830629" cy="215444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57" name="Slide Number Placeholder 7">
            <a:extLst>
              <a:ext uri="{FF2B5EF4-FFF2-40B4-BE49-F238E27FC236}">
                <a16:creationId xmlns:a16="http://schemas.microsoft.com/office/drawing/2014/main" id="{452643D6-A075-49E6-4708-1A3924E702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34F7DC-1BE8-2915-9E6D-D673A8C3503E}"/>
              </a:ext>
            </a:extLst>
          </p:cNvPr>
          <p:cNvGrpSpPr/>
          <p:nvPr userDrawn="1"/>
        </p:nvGrpSpPr>
        <p:grpSpPr>
          <a:xfrm>
            <a:off x="9414511" y="0"/>
            <a:ext cx="1392557" cy="381000"/>
            <a:chOff x="7074722" y="1"/>
            <a:chExt cx="1392557" cy="381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6D1562-14EB-4872-ECB7-DBA0F5A86D45}"/>
                </a:ext>
              </a:extLst>
            </p:cNvPr>
            <p:cNvSpPr/>
            <p:nvPr userDrawn="1"/>
          </p:nvSpPr>
          <p:spPr>
            <a:xfrm rot="16200000">
              <a:off x="7580501" y="-505778"/>
              <a:ext cx="381000" cy="1392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6" name="Picture 15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13D557D8-00E1-020A-09C9-2BD386537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6748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ictogrammes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EB6E3590-E133-7545-2F66-1B944B202BD0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613421" y="522673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9E14FEE0-54CA-264E-2A0F-91D63F76F113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28658" y="263424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2FE1546-2436-3BE9-982C-5100A5A4D8F3}"/>
              </a:ext>
            </a:extLst>
          </p:cNvPr>
          <p:cNvCxnSpPr>
            <a:cxnSpLocks/>
          </p:cNvCxnSpPr>
          <p:nvPr/>
        </p:nvCxnSpPr>
        <p:spPr>
          <a:xfrm>
            <a:off x="632460" y="1808319"/>
            <a:ext cx="3065780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698582-B3F9-77D2-53DC-F946ADB5857D}"/>
              </a:ext>
            </a:extLst>
          </p:cNvPr>
          <p:cNvCxnSpPr>
            <a:cxnSpLocks/>
          </p:cNvCxnSpPr>
          <p:nvPr/>
        </p:nvCxnSpPr>
        <p:spPr>
          <a:xfrm>
            <a:off x="632460" y="4368426"/>
            <a:ext cx="3065780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753C097-E4E3-D20F-32D3-FA1DA5A4E869}"/>
              </a:ext>
            </a:extLst>
          </p:cNvPr>
          <p:cNvCxnSpPr>
            <a:cxnSpLocks/>
          </p:cNvCxnSpPr>
          <p:nvPr/>
        </p:nvCxnSpPr>
        <p:spPr>
          <a:xfrm>
            <a:off x="4622343" y="4400811"/>
            <a:ext cx="3065780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4C01F50-BCE3-76DF-D5A8-2601E14B5C38}"/>
              </a:ext>
            </a:extLst>
          </p:cNvPr>
          <p:cNvCxnSpPr>
            <a:cxnSpLocks/>
          </p:cNvCxnSpPr>
          <p:nvPr userDrawn="1"/>
        </p:nvCxnSpPr>
        <p:spPr>
          <a:xfrm>
            <a:off x="4614693" y="1808319"/>
            <a:ext cx="3065780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0530EB07-D250-4E41-C901-25B347C8A7D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19665" y="879731"/>
            <a:ext cx="5605702" cy="400559"/>
          </a:xfrm>
        </p:spPr>
        <p:txBody>
          <a:bodyPr wrap="none" anchor="t"/>
          <a:lstStyle>
            <a:lvl1pPr>
              <a:defRPr/>
            </a:lvl1pPr>
          </a:lstStyle>
          <a:p>
            <a:r>
              <a:rPr lang="fr-FR"/>
              <a:t>Titre de la slide sur une ligne</a:t>
            </a:r>
            <a:endParaRPr lang="fr-FR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6906B02-6D94-A74C-9F58-735920862939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619666" y="607549"/>
            <a:ext cx="5032859" cy="107722"/>
          </a:xfrm>
        </p:spPr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8708B666-AF92-B687-3C8B-DC83BDCF4952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4613421" y="263424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0927B6A8-D12B-E020-2643-04AA948F114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28658" y="5226735"/>
            <a:ext cx="3067200" cy="867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5407FC7-DBCA-D4FD-0220-253DE5724E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7960" y="4711110"/>
            <a:ext cx="1830629" cy="215444"/>
          </a:xfrm>
        </p:spPr>
        <p:txBody>
          <a:bodyPr wrap="none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49CE0020-667E-7B3A-9C09-78381CB2D9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2424" y="4711110"/>
            <a:ext cx="1830629" cy="215444"/>
          </a:xfrm>
        </p:spPr>
        <p:txBody>
          <a:bodyPr wrap="none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8AE3F783-C783-05D4-47CF-41C139E12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7960" y="2118618"/>
            <a:ext cx="1830629" cy="215444"/>
          </a:xfrm>
        </p:spPr>
        <p:txBody>
          <a:bodyPr wrap="none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B1ADFA2F-E9F2-2494-A9CE-503F0A3E99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32424" y="2118618"/>
            <a:ext cx="1830629" cy="215444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14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 sur une ligne</a:t>
            </a:r>
            <a:endParaRPr lang="fr-FR" dirty="0"/>
          </a:p>
        </p:txBody>
      </p: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E8B521C9-E1AA-43C4-3566-8E920D67DC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DBFEF0-712F-735E-E050-96831A6273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02600" y="259079"/>
            <a:ext cx="3830200" cy="6339837"/>
          </a:xfrm>
          <a:custGeom>
            <a:avLst/>
            <a:gdLst>
              <a:gd name="connsiteX0" fmla="*/ 0 w 3830200"/>
              <a:gd name="connsiteY0" fmla="*/ 0 h 6339837"/>
              <a:gd name="connsiteX1" fmla="*/ 1315722 w 3830200"/>
              <a:gd name="connsiteY1" fmla="*/ 0 h 6339837"/>
              <a:gd name="connsiteX2" fmla="*/ 1315722 w 3830200"/>
              <a:gd name="connsiteY2" fmla="*/ 121921 h 6339837"/>
              <a:gd name="connsiteX3" fmla="*/ 2700658 w 3830200"/>
              <a:gd name="connsiteY3" fmla="*/ 121921 h 6339837"/>
              <a:gd name="connsiteX4" fmla="*/ 2700658 w 3830200"/>
              <a:gd name="connsiteY4" fmla="*/ 0 h 6339837"/>
              <a:gd name="connsiteX5" fmla="*/ 3830200 w 3830200"/>
              <a:gd name="connsiteY5" fmla="*/ 0 h 6339837"/>
              <a:gd name="connsiteX6" fmla="*/ 3830200 w 3830200"/>
              <a:gd name="connsiteY6" fmla="*/ 6339837 h 6339837"/>
              <a:gd name="connsiteX7" fmla="*/ 0 w 3830200"/>
              <a:gd name="connsiteY7" fmla="*/ 6339837 h 6339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30200" h="6339837">
                <a:moveTo>
                  <a:pt x="0" y="0"/>
                </a:moveTo>
                <a:lnTo>
                  <a:pt x="1315722" y="0"/>
                </a:lnTo>
                <a:lnTo>
                  <a:pt x="1315722" y="121921"/>
                </a:lnTo>
                <a:lnTo>
                  <a:pt x="2700658" y="121921"/>
                </a:lnTo>
                <a:lnTo>
                  <a:pt x="2700658" y="0"/>
                </a:lnTo>
                <a:lnTo>
                  <a:pt x="3830200" y="0"/>
                </a:lnTo>
                <a:lnTo>
                  <a:pt x="3830200" y="6339837"/>
                </a:lnTo>
                <a:lnTo>
                  <a:pt x="0" y="63398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71DF11-12C9-AE1E-9151-4B4D6AE2EF19}"/>
              </a:ext>
            </a:extLst>
          </p:cNvPr>
          <p:cNvGrpSpPr/>
          <p:nvPr userDrawn="1"/>
        </p:nvGrpSpPr>
        <p:grpSpPr>
          <a:xfrm>
            <a:off x="9414511" y="0"/>
            <a:ext cx="1392557" cy="381000"/>
            <a:chOff x="7074722" y="1"/>
            <a:chExt cx="1392557" cy="381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99A3B25-4662-3179-0614-BE91553EAB14}"/>
                </a:ext>
              </a:extLst>
            </p:cNvPr>
            <p:cNvSpPr/>
            <p:nvPr userDrawn="1"/>
          </p:nvSpPr>
          <p:spPr>
            <a:xfrm rot="16200000">
              <a:off x="7580501" y="-505778"/>
              <a:ext cx="381000" cy="1392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4" name="Picture 3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3B0E9A70-580B-CC45-7B86-AA0357F243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785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phique/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CE26D-AA42-0203-9F59-1A35ACBA4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99F239-66FD-A67F-686C-83BAEB304D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7BFB4-55C7-4A29-27B7-FA44D4F971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7700F2D-C267-1FDE-5FC4-59319670FBA5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3975178" y="3929141"/>
            <a:ext cx="4241643" cy="0"/>
          </a:xfrm>
          <a:prstGeom prst="line">
            <a:avLst/>
          </a:prstGeom>
          <a:ln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DC70B6C-3CE0-2F09-6411-167DBC4600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125" y="1806120"/>
            <a:ext cx="5032859" cy="42416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4618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15"/>
            <a:ext cx="8280839" cy="3312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contenu 5">
            <a:extLst>
              <a:ext uri="{FF2B5EF4-FFF2-40B4-BE49-F238E27FC236}">
                <a16:creationId xmlns:a16="http://schemas.microsoft.com/office/drawing/2014/main" id="{2453FD60-1E59-B389-93D0-7C1DA0B95285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134EABE8-F371-6B2B-8D24-B9AC4A1E694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A1B9B33F-1C76-EBA5-3D37-5D989629E8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id="{0CD4BC2F-CCF0-0E23-19D5-F5C469337686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accent5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24DBD31-A7B8-E370-4CE4-8476B778E5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CCCACD8C-20CC-F84C-0799-0E673D5AC6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30">
            <a:extLst>
              <a:ext uri="{FF2B5EF4-FFF2-40B4-BE49-F238E27FC236}">
                <a16:creationId xmlns:a16="http://schemas.microsoft.com/office/drawing/2014/main" id="{27DE5B33-C1BD-F8AC-FFAE-F4E8941467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/>
              <a:t>TITRE COURANT EN CAPITA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0602FF7-D3DD-9AFA-88AB-0BDDA4AF6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2AA4FD08-2945-BCF2-5178-98622F873C3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A05990D6-1036-1B67-FD2F-BF46EE356FBE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068919-A69D-7804-9A3D-96B0B36F66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5086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61283820-8892-DD26-946A-3D52CD6F8D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63637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267D50CF-B621-DC47-8C29-EFF3B76A1E9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16167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E1248D5-AF26-CAFD-EB93-3B6248F12B1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28941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012547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ot Clé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 descr="A blurry image of a person sitting on a bench&#10;&#10;AI-generated content may be incorrect.">
            <a:extLst>
              <a:ext uri="{FF2B5EF4-FFF2-40B4-BE49-F238E27FC236}">
                <a16:creationId xmlns:a16="http://schemas.microsoft.com/office/drawing/2014/main" id="{200B2B55-0C5D-6F5C-629D-7973104E92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3428999"/>
            <a:ext cx="12192000" cy="3429001"/>
          </a:xfrm>
          <a:prstGeom prst="rect">
            <a:avLst/>
          </a:prstGeom>
        </p:spPr>
      </p:pic>
      <p:pic>
        <p:nvPicPr>
          <p:cNvPr id="33" name="Picture 32" descr="A person sitting on a bench with headphones and a cup&#10;&#10;AI-generated content may be incorrect.">
            <a:extLst>
              <a:ext uri="{FF2B5EF4-FFF2-40B4-BE49-F238E27FC236}">
                <a16:creationId xmlns:a16="http://schemas.microsoft.com/office/drawing/2014/main" id="{409E5DE6-EA50-B975-5BB2-69DAA5099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2890" y="3429000"/>
            <a:ext cx="11666220" cy="3162239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1FC15845-DA20-E3D4-5EF9-F6A15DF949B1}"/>
              </a:ext>
            </a:extLst>
          </p:cNvPr>
          <p:cNvSpPr>
            <a:spLocks/>
          </p:cNvSpPr>
          <p:nvPr userDrawn="1"/>
        </p:nvSpPr>
        <p:spPr>
          <a:xfrm>
            <a:off x="262890" y="1806575"/>
            <a:ext cx="7865108" cy="42433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6" name="Picture 35" descr="A person sitting on a pillow with headphones holding a cup&#10;&#10;AI-generated content may be incorrect.">
            <a:extLst>
              <a:ext uri="{FF2B5EF4-FFF2-40B4-BE49-F238E27FC236}">
                <a16:creationId xmlns:a16="http://schemas.microsoft.com/office/drawing/2014/main" id="{7D8E9F7E-430E-9CF4-94AA-46864AD16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/>
          <a:stretch/>
        </p:blipFill>
        <p:spPr>
          <a:xfrm flipH="1">
            <a:off x="1290060" y="2722412"/>
            <a:ext cx="10448296" cy="3868826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D2B1C93-B800-D862-0657-55DDC225B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slide sur une ou plusieurs lignes</a:t>
            </a:r>
            <a:endParaRPr lang="fr-FR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B44E76-09C0-9B11-0E70-EC25445363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dirty="0"/>
              <a:t>01  -  NOM DE LA PARTI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F64C95-9895-EDFC-D427-DBF31E2F59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B1D685AA-A64D-C004-C013-A2A745BFA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55" y="2148113"/>
            <a:ext cx="1485984" cy="492443"/>
          </a:xfrm>
        </p:spPr>
        <p:txBody>
          <a:bodyPr wrap="none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fr-FR" sz="3200" kern="1200" dirty="0">
                <a:solidFill>
                  <a:schemeClr val="tx1"/>
                </a:solidFill>
                <a:latin typeface="Lexend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t clé</a:t>
            </a:r>
            <a:endParaRPr lang="fr-FR" dirty="0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45E728DC-D6FB-CA5B-2AD9-03B82B1A12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955" y="3164084"/>
            <a:ext cx="7045575" cy="646331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120000"/>
              </a:lnSpc>
              <a:spcAft>
                <a:spcPts val="1000"/>
              </a:spcAft>
              <a:defRPr lang="fr-FR" sz="1200" kern="1200" dirty="0">
                <a:solidFill>
                  <a:schemeClr val="tx1"/>
                </a:solidFill>
                <a:latin typeface="Lexend Medium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Sous-titre du paragraphe sur plusieurs lignes. </a:t>
            </a:r>
            <a:r>
              <a:rPr lang="fr-FR" sz="1200">
                <a:latin typeface="Lexend Medium" pitchFamily="2" charset="0"/>
              </a:rPr>
              <a:t>Lorem </a:t>
            </a:r>
            <a:r>
              <a:rPr lang="fr-FR" sz="1200" dirty="0">
                <a:latin typeface="Lexend Medium" pitchFamily="2" charset="0"/>
              </a:rPr>
              <a:t>ipsum </a:t>
            </a:r>
            <a:r>
              <a:rPr lang="fr-FR" sz="1200" dirty="0" err="1">
                <a:latin typeface="Lexend Medium" pitchFamily="2" charset="0"/>
              </a:rPr>
              <a:t>dolor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sit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amet</a:t>
            </a:r>
            <a:r>
              <a:rPr lang="fr-FR" sz="1200" dirty="0">
                <a:latin typeface="Lexend Medium" pitchFamily="2" charset="0"/>
              </a:rPr>
              <a:t>. Vel </a:t>
            </a:r>
            <a:r>
              <a:rPr lang="fr-FR" sz="1200" dirty="0" err="1">
                <a:latin typeface="Lexend Medium" pitchFamily="2" charset="0"/>
              </a:rPr>
              <a:t>quaerat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beatae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aut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consectetur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saepe</a:t>
            </a:r>
            <a:r>
              <a:rPr lang="fr-FR" sz="1200" dirty="0">
                <a:latin typeface="Lexend Medium" pitchFamily="2" charset="0"/>
              </a:rPr>
              <a:t> id </a:t>
            </a:r>
            <a:r>
              <a:rPr lang="fr-FR" sz="1200" dirty="0" err="1">
                <a:latin typeface="Lexend Medium" pitchFamily="2" charset="0"/>
              </a:rPr>
              <a:t>sint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laudantium</a:t>
            </a:r>
            <a:r>
              <a:rPr lang="fr-FR" sz="1200" dirty="0">
                <a:latin typeface="Lexend Medium" pitchFamily="2" charset="0"/>
              </a:rPr>
              <a:t> ut </a:t>
            </a:r>
            <a:r>
              <a:rPr lang="fr-FR" sz="1200" dirty="0" err="1">
                <a:latin typeface="Lexend Medium" pitchFamily="2" charset="0"/>
              </a:rPr>
              <a:t>commodi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excepturi</a:t>
            </a:r>
            <a:r>
              <a:rPr lang="fr-FR" sz="1200" dirty="0">
                <a:latin typeface="Lexend Medium" pitchFamily="2" charset="0"/>
              </a:rPr>
              <a:t>. </a:t>
            </a:r>
            <a:r>
              <a:rPr lang="fr-FR" sz="1200" dirty="0" err="1">
                <a:latin typeface="Lexend Medium" pitchFamily="2" charset="0"/>
              </a:rPr>
              <a:t>Sit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iusto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unde</a:t>
            </a:r>
            <a:r>
              <a:rPr lang="fr-FR" sz="1200" dirty="0">
                <a:latin typeface="Lexend Medium" pitchFamily="2" charset="0"/>
              </a:rPr>
              <a:t> non </a:t>
            </a:r>
            <a:r>
              <a:rPr lang="fr-FR" sz="1200" dirty="0" err="1">
                <a:latin typeface="Lexend Medium" pitchFamily="2" charset="0"/>
              </a:rPr>
              <a:t>molestiae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dolorem</a:t>
            </a:r>
            <a:r>
              <a:rPr lang="fr-FR" sz="1200" dirty="0">
                <a:latin typeface="Lexend Medium" pitchFamily="2" charset="0"/>
              </a:rPr>
              <a:t> et </a:t>
            </a:r>
            <a:r>
              <a:rPr lang="fr-FR" sz="1200" dirty="0" err="1">
                <a:latin typeface="Lexend Medium" pitchFamily="2" charset="0"/>
              </a:rPr>
              <a:t>earum</a:t>
            </a:r>
            <a:r>
              <a:rPr lang="fr-FR" sz="1200" dirty="0">
                <a:latin typeface="Lexend Medium" pitchFamily="2" charset="0"/>
              </a:rPr>
              <a:t> </a:t>
            </a:r>
            <a:r>
              <a:rPr lang="fr-FR" sz="1200" dirty="0" err="1">
                <a:latin typeface="Lexend Medium" pitchFamily="2" charset="0"/>
              </a:rPr>
              <a:t>consequatur</a:t>
            </a:r>
            <a:r>
              <a:rPr lang="fr-FR" sz="1200" dirty="0">
                <a:latin typeface="Lexend Medium" pitchFamily="2" charset="0"/>
              </a:rPr>
              <a:t> 33 </a:t>
            </a:r>
            <a:r>
              <a:rPr lang="fr-FR" sz="1200" dirty="0" err="1">
                <a:latin typeface="Lexend Medium" pitchFamily="2" charset="0"/>
              </a:rPr>
              <a:t>rerum</a:t>
            </a:r>
            <a:endParaRPr lang="fr-FR" dirty="0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6A5D2E9F-E1AC-546D-685B-46586D8A9F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124" y="3973864"/>
            <a:ext cx="7045575" cy="1625446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D0E9D94-6A47-04C6-0437-D3BA0E5B59AC}"/>
              </a:ext>
            </a:extLst>
          </p:cNvPr>
          <p:cNvGrpSpPr/>
          <p:nvPr userDrawn="1"/>
        </p:nvGrpSpPr>
        <p:grpSpPr>
          <a:xfrm>
            <a:off x="9414511" y="0"/>
            <a:ext cx="1392557" cy="381000"/>
            <a:chOff x="7074722" y="1"/>
            <a:chExt cx="1392557" cy="381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30231C-E208-5FF4-5182-398812B5F2D6}"/>
                </a:ext>
              </a:extLst>
            </p:cNvPr>
            <p:cNvSpPr/>
            <p:nvPr userDrawn="1"/>
          </p:nvSpPr>
          <p:spPr>
            <a:xfrm rot="16200000">
              <a:off x="7580501" y="-505778"/>
              <a:ext cx="381000" cy="1392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0" name="Picture 9" descr="A purple text on a black background&#10;&#10;AI-generated content may be incorrect.">
              <a:extLst>
                <a:ext uri="{FF2B5EF4-FFF2-40B4-BE49-F238E27FC236}">
                  <a16:creationId xmlns:a16="http://schemas.microsoft.com/office/drawing/2014/main" id="{B1073BB4-E615-E86A-3253-256A771595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80" y="58588"/>
              <a:ext cx="1160138" cy="263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5952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onnes de texte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itre 13">
            <a:extLst>
              <a:ext uri="{FF2B5EF4-FFF2-40B4-BE49-F238E27FC236}">
                <a16:creationId xmlns:a16="http://schemas.microsoft.com/office/drawing/2014/main" id="{203BC2AB-FC21-3C4D-6BA6-CBAFBE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774215"/>
            <a:ext cx="8280839" cy="3312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8860D975-D309-5762-3EA4-EFF9E6FEE453}"/>
              </a:ext>
            </a:extLst>
          </p:cNvPr>
          <p:cNvCxnSpPr>
            <a:cxnSpLocks/>
          </p:cNvCxnSpPr>
          <p:nvPr userDrawn="1"/>
        </p:nvCxnSpPr>
        <p:spPr>
          <a:xfrm>
            <a:off x="6218761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42A2880-54F7-4CC6-A61B-F74DBD6E90D0}"/>
              </a:ext>
            </a:extLst>
          </p:cNvPr>
          <p:cNvCxnSpPr>
            <a:cxnSpLocks/>
          </p:cNvCxnSpPr>
          <p:nvPr userDrawn="1"/>
        </p:nvCxnSpPr>
        <p:spPr>
          <a:xfrm>
            <a:off x="9028065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3EADD3A-5789-C329-0C3A-D35FC84D2B71}"/>
              </a:ext>
            </a:extLst>
          </p:cNvPr>
          <p:cNvCxnSpPr>
            <a:cxnSpLocks/>
          </p:cNvCxnSpPr>
          <p:nvPr userDrawn="1"/>
        </p:nvCxnSpPr>
        <p:spPr>
          <a:xfrm>
            <a:off x="3365394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E2B1030-05B6-6428-A6E0-56A9338CC5D0}"/>
              </a:ext>
            </a:extLst>
          </p:cNvPr>
          <p:cNvCxnSpPr>
            <a:cxnSpLocks/>
          </p:cNvCxnSpPr>
          <p:nvPr userDrawn="1"/>
        </p:nvCxnSpPr>
        <p:spPr>
          <a:xfrm>
            <a:off x="567108" y="2480923"/>
            <a:ext cx="262890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contenu 5">
            <a:extLst>
              <a:ext uri="{FF2B5EF4-FFF2-40B4-BE49-F238E27FC236}">
                <a16:creationId xmlns:a16="http://schemas.microsoft.com/office/drawing/2014/main" id="{2453FD60-1E59-B389-93D0-7C1DA0B95285}"/>
              </a:ext>
            </a:extLst>
          </p:cNvPr>
          <p:cNvSpPr>
            <a:spLocks noGrp="1" noChangeAspect="1"/>
          </p:cNvSpPr>
          <p:nvPr>
            <p:ph sz="quarter" idx="43" hasCustomPrompt="1"/>
          </p:nvPr>
        </p:nvSpPr>
        <p:spPr>
          <a:xfrm>
            <a:off x="567116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134EABE8-F371-6B2B-8D24-B9AC4A1E694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379889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A1B9B33F-1C76-EBA5-3D37-5D989629E8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222481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id="{0CD4BC2F-CCF0-0E23-19D5-F5C469337686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025315" y="1883650"/>
            <a:ext cx="2612942" cy="476417"/>
          </a:xfrm>
        </p:spPr>
        <p:txBody>
          <a:bodyPr>
            <a:noAutofit/>
          </a:bodyPr>
          <a:lstStyle>
            <a:lvl1pPr marL="12600" indent="0">
              <a:spcBef>
                <a:spcPts val="200"/>
              </a:spcBef>
              <a:buNone/>
              <a:defRPr sz="17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Titre (2 lignes) ou pictogramme à aligner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24DBD31-A7B8-E370-4CE4-8476B778E5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735" y="1157043"/>
            <a:ext cx="2613026" cy="324715"/>
          </a:xfrm>
        </p:spPr>
        <p:txBody>
          <a:bodyPr/>
          <a:lstStyle>
            <a:lvl1pPr marL="12600" indent="0">
              <a:spcBef>
                <a:spcPts val="100"/>
              </a:spcBef>
              <a:buNone/>
              <a:defRPr b="1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SOUS-TITRE EN CAPITALES</a:t>
            </a:r>
            <a:br>
              <a:rPr lang="fr-FR"/>
            </a:br>
            <a:r>
              <a:rPr lang="fr-FR"/>
              <a:t>(À SUPPRIMER SI PAS UTILE)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CCCACD8C-20CC-F84C-0799-0E673D5AC6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897937" y="248487"/>
            <a:ext cx="2743200" cy="168660"/>
          </a:xfrm>
        </p:spPr>
        <p:txBody>
          <a:bodyPr/>
          <a:lstStyle/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30">
            <a:extLst>
              <a:ext uri="{FF2B5EF4-FFF2-40B4-BE49-F238E27FC236}">
                <a16:creationId xmlns:a16="http://schemas.microsoft.com/office/drawing/2014/main" id="{27DE5B33-C1BD-F8AC-FFAE-F4E8941467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9158" y="262777"/>
            <a:ext cx="4146551" cy="164307"/>
          </a:xfrm>
        </p:spPr>
        <p:txBody>
          <a:bodyPr>
            <a:normAutofit/>
          </a:bodyPr>
          <a:lstStyle>
            <a:lvl1pPr marL="12600" indent="0">
              <a:buNone/>
              <a:defRPr sz="1199">
                <a:solidFill>
                  <a:srgbClr val="AA9590"/>
                </a:solidFill>
              </a:defRPr>
            </a:lvl1pPr>
          </a:lstStyle>
          <a:p>
            <a:pPr lvl="0"/>
            <a:r>
              <a:rPr lang="fr-FR" dirty="0"/>
              <a:t>TITRE COURANT EN CAPITA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0602FF7-D3DD-9AFA-88AB-0BDDA4AF6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291742"/>
            <a:ext cx="517292" cy="125404"/>
          </a:xfrm>
          <a:prstGeom prst="rect">
            <a:avLst/>
          </a:prstGeom>
        </p:spPr>
      </p:pic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CBD8E643-0AEB-C359-C402-EEA4221ED84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03953" y="765179"/>
            <a:ext cx="5434012" cy="572971"/>
          </a:xfrm>
        </p:spPr>
        <p:txBody>
          <a:bodyPr>
            <a:normAutofit/>
          </a:bodyPr>
          <a:lstStyle>
            <a:lvl1pPr marL="12600" indent="0">
              <a:spcBef>
                <a:spcPts val="100"/>
              </a:spcBef>
              <a:buNone/>
              <a:defRPr sz="18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fr-FR"/>
              <a:t>Phrase d’accroche</a:t>
            </a:r>
          </a:p>
          <a:p>
            <a:pPr lvl="0"/>
            <a:r>
              <a:rPr lang="fr-FR"/>
              <a:t>Sur 2 lignes éventuellement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6D8C003-A900-4BEE-43BA-6385F4EF3919}"/>
              </a:ext>
            </a:extLst>
          </p:cNvPr>
          <p:cNvCxnSpPr>
            <a:cxnSpLocks/>
          </p:cNvCxnSpPr>
          <p:nvPr userDrawn="1"/>
        </p:nvCxnSpPr>
        <p:spPr>
          <a:xfrm>
            <a:off x="-225630" y="530321"/>
            <a:ext cx="1186246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1D1E24-F51B-7E47-9D88-D9745A85E51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7735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173F215F-4F04-8874-50DC-C71BC24293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60509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551BFFFF-0557-0110-9CCA-22DC432FFF4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22978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1026582F-D902-CA5E-D387-AD43A777F0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25813" y="2624839"/>
            <a:ext cx="2612832" cy="3683891"/>
          </a:xfrm>
        </p:spPr>
        <p:txBody>
          <a:bodyPr>
            <a:normAutofit/>
          </a:bodyPr>
          <a:lstStyle>
            <a:lvl1pPr marL="12600" indent="0">
              <a:spcBef>
                <a:spcPts val="0"/>
              </a:spcBef>
              <a:buFont typeface="Arial" panose="020B0604020202020204" pitchFamily="34" charset="0"/>
              <a:buNone/>
              <a:defRPr sz="1300"/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344706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4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908" userDrawn="1">
          <p15:clr>
            <a:srgbClr val="FBAE40"/>
          </p15:clr>
        </p15:guide>
        <p15:guide id="4" pos="377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6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1.sv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10.svg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5DC15A-3623-BBD1-C346-0FA0C83619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888442"/>
            <a:ext cx="11090276" cy="44292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Insérer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66DEA6-F7D8-ADA2-4703-E1A8A0155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97937" y="6414215"/>
            <a:ext cx="2743200" cy="1686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99" b="0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itre 13">
            <a:extLst>
              <a:ext uri="{FF2B5EF4-FFF2-40B4-BE49-F238E27FC236}">
                <a16:creationId xmlns:a16="http://schemas.microsoft.com/office/drawing/2014/main" id="{9CA10C8D-3034-B10F-7D66-CABE51D6E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71" y="765179"/>
            <a:ext cx="9097486" cy="40814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8430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8" r:id="rId2"/>
    <p:sldLayoutId id="2147483677" r:id="rId3"/>
    <p:sldLayoutId id="2147483649" r:id="rId4"/>
    <p:sldLayoutId id="2147483676" r:id="rId5"/>
    <p:sldLayoutId id="2147483679" r:id="rId6"/>
    <p:sldLayoutId id="2147483671" r:id="rId7"/>
    <p:sldLayoutId id="2147483660" r:id="rId8"/>
    <p:sldLayoutId id="2147483673" r:id="rId9"/>
    <p:sldLayoutId id="2147483669" r:id="rId10"/>
    <p:sldLayoutId id="2147483665" r:id="rId11"/>
    <p:sldLayoutId id="2147483674" r:id="rId12"/>
    <p:sldLayoutId id="2147483666" r:id="rId13"/>
    <p:sldLayoutId id="2147483681" r:id="rId14"/>
    <p:sldLayoutId id="2147483663" r:id="rId15"/>
    <p:sldLayoutId id="2147483664" r:id="rId16"/>
    <p:sldLayoutId id="2147483672" r:id="rId17"/>
    <p:sldLayoutId id="2147483668" r:id="rId18"/>
    <p:sldLayoutId id="2147483680" r:id="rId19"/>
  </p:sldLayoutIdLst>
  <p:hf hdr="0" ftr="0"/>
  <p:txStyles>
    <p:titleStyle>
      <a:lvl1pPr algn="l" defTabSz="914242" rtl="0" eaLnBrk="1" latinLnBrk="0" hangingPunct="1">
        <a:lnSpc>
          <a:spcPct val="8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Helvetica Neue Condensed" panose="02000503000000020004" pitchFamily="2" charset="0"/>
          <a:ea typeface="Helvetica Neue Condensed" panose="02000503000000020004" pitchFamily="2" charset="0"/>
          <a:cs typeface="Helvetica Neue Condensed" panose="02000503000000020004" pitchFamily="2" charset="0"/>
        </a:defRPr>
      </a:lvl1pPr>
    </p:titleStyle>
    <p:bodyStyle>
      <a:lvl1pPr marL="12599" indent="0" algn="l" defTabSz="719875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110000"/>
        <a:buFont typeface="Police système Courant"/>
        <a:buNone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742821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1199941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657063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2114186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16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7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4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7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3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5" userDrawn="1">
          <p15:clr>
            <a:srgbClr val="F26B43"/>
          </p15:clr>
        </p15:guide>
        <p15:guide id="2" pos="3841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6" orient="horz" pos="1185" userDrawn="1">
          <p15:clr>
            <a:srgbClr val="F26B43"/>
          </p15:clr>
        </p15:guide>
        <p15:guide id="7" orient="horz" pos="4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5DC15A-3623-BBD1-C346-0FA0C83619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888442"/>
            <a:ext cx="11090276" cy="44292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Insérer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66DEA6-F7D8-ADA2-4703-E1A8A0155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97937" y="6414215"/>
            <a:ext cx="2743200" cy="1686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99" b="0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36381681-318F-F34D-BC07-1902CF377D8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itre 13">
            <a:extLst>
              <a:ext uri="{FF2B5EF4-FFF2-40B4-BE49-F238E27FC236}">
                <a16:creationId xmlns:a16="http://schemas.microsoft.com/office/drawing/2014/main" id="{9CA10C8D-3034-B10F-7D66-CABE51D6E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71" y="765179"/>
            <a:ext cx="9097486" cy="40814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16947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4" r:id="rId21"/>
    <p:sldLayoutId id="2147483771" r:id="rId22"/>
  </p:sldLayoutIdLst>
  <p:hf hdr="0" ftr="0"/>
  <p:txStyles>
    <p:titleStyle>
      <a:lvl1pPr algn="l" defTabSz="914242" rtl="0" eaLnBrk="1" latinLnBrk="0" hangingPunct="1">
        <a:lnSpc>
          <a:spcPct val="8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Helvetica Neue Condensed" panose="02000503000000020004" pitchFamily="2" charset="0"/>
          <a:ea typeface="Helvetica Neue Condensed" panose="02000503000000020004" pitchFamily="2" charset="0"/>
          <a:cs typeface="Helvetica Neue Condensed" panose="02000503000000020004" pitchFamily="2" charset="0"/>
        </a:defRPr>
      </a:lvl1pPr>
    </p:titleStyle>
    <p:bodyStyle>
      <a:lvl1pPr marL="12599" indent="0" algn="l" defTabSz="719875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110000"/>
        <a:buFont typeface="Police système Courant"/>
        <a:buNone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742821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1199941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657063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2114186" indent="-215963" algn="l" defTabSz="719875" rtl="0" eaLnBrk="1" latinLnBrk="0" hangingPunct="1">
        <a:lnSpc>
          <a:spcPct val="100000"/>
        </a:lnSpc>
        <a:spcBef>
          <a:spcPts val="499"/>
        </a:spcBef>
        <a:buClr>
          <a:schemeClr val="tx2"/>
        </a:buClr>
        <a:buSzPct val="110000"/>
        <a:buFont typeface="Police système Courant"/>
        <a:buChar char="●"/>
        <a:defRPr sz="1199" b="0" i="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16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4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7" indent="-228562" algn="l" defTabSz="91424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4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7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3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2" algn="l" defTabSz="9142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5">
          <p15:clr>
            <a:srgbClr val="F26B43"/>
          </p15:clr>
        </p15:guide>
        <p15:guide id="2" pos="3841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6" orient="horz" pos="1185">
          <p15:clr>
            <a:srgbClr val="F26B43"/>
          </p15:clr>
        </p15:guide>
        <p15:guide id="7" orient="horz" pos="48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que 17">
            <a:extLst>
              <a:ext uri="{FF2B5EF4-FFF2-40B4-BE49-F238E27FC236}">
                <a16:creationId xmlns:a16="http://schemas.microsoft.com/office/drawing/2014/main" id="{2571AE13-C5A1-7858-5516-575623786FB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6200000">
            <a:off x="11268524" y="5912051"/>
            <a:ext cx="813600" cy="14664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487A3B2-F27C-4372-A9BB-1DBF6F593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44" y="390527"/>
            <a:ext cx="10800000" cy="1080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B7C3228-595B-4EAF-9221-C386C81A15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5444" y="1824421"/>
            <a:ext cx="1080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9CA19A1-E146-4CDC-8C77-632E003C15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444" y="6356350"/>
            <a:ext cx="18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6C464196-B23D-4956-A819-C4EA25AC107C}" type="datetimeFigureOut">
              <a:rPr lang="fr-FR" smtClean="0"/>
              <a:pPr/>
              <a:t>30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365907-3E3A-44C5-B4E1-22861B856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9875324" y="2758012"/>
            <a:ext cx="36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50" cap="all" baseline="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951121F-12D6-49BC-838B-2993D39F6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5324" y="797384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50">
                <a:solidFill>
                  <a:schemeClr val="tx2"/>
                </a:solidFill>
                <a:latin typeface="+mj-lt"/>
              </a:defRPr>
            </a:lvl1pPr>
          </a:lstStyle>
          <a:p>
            <a:fld id="{0334CA73-E165-43C3-A7BE-6A64DCE862CA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Graphique 9">
            <a:extLst>
              <a:ext uri="{FF2B5EF4-FFF2-40B4-BE49-F238E27FC236}">
                <a16:creationId xmlns:a16="http://schemas.microsoft.com/office/drawing/2014/main" id="{469F942F-0939-5326-435C-B69BB6317938}"/>
              </a:ext>
            </a:extLst>
          </p:cNvPr>
          <p:cNvSpPr/>
          <p:nvPr userDrawn="1"/>
        </p:nvSpPr>
        <p:spPr>
          <a:xfrm>
            <a:off x="11595552" y="458685"/>
            <a:ext cx="159544" cy="159544"/>
          </a:xfrm>
          <a:custGeom>
            <a:avLst/>
            <a:gdLst>
              <a:gd name="connsiteX0" fmla="*/ 0 w 217931"/>
              <a:gd name="connsiteY0" fmla="*/ 104584 h 217931"/>
              <a:gd name="connsiteX1" fmla="*/ 0 w 217931"/>
              <a:gd name="connsiteY1" fmla="*/ 113348 h 217931"/>
              <a:gd name="connsiteX2" fmla="*/ 104584 w 217931"/>
              <a:gd name="connsiteY2" fmla="*/ 217932 h 217931"/>
              <a:gd name="connsiteX3" fmla="*/ 113348 w 217931"/>
              <a:gd name="connsiteY3" fmla="*/ 217932 h 217931"/>
              <a:gd name="connsiteX4" fmla="*/ 217932 w 217931"/>
              <a:gd name="connsiteY4" fmla="*/ 113348 h 217931"/>
              <a:gd name="connsiteX5" fmla="*/ 217932 w 217931"/>
              <a:gd name="connsiteY5" fmla="*/ 104584 h 217931"/>
              <a:gd name="connsiteX6" fmla="*/ 113252 w 217931"/>
              <a:gd name="connsiteY6" fmla="*/ 0 h 217931"/>
              <a:gd name="connsiteX7" fmla="*/ 104489 w 217931"/>
              <a:gd name="connsiteY7" fmla="*/ 0 h 217931"/>
              <a:gd name="connsiteX8" fmla="*/ 0 w 217931"/>
              <a:gd name="connsiteY8" fmla="*/ 104584 h 21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931" h="217931">
                <a:moveTo>
                  <a:pt x="0" y="104584"/>
                </a:moveTo>
                <a:lnTo>
                  <a:pt x="0" y="113348"/>
                </a:lnTo>
                <a:cubicBezTo>
                  <a:pt x="0" y="180689"/>
                  <a:pt x="37148" y="217932"/>
                  <a:pt x="104584" y="217932"/>
                </a:cubicBezTo>
                <a:lnTo>
                  <a:pt x="113348" y="217932"/>
                </a:lnTo>
                <a:cubicBezTo>
                  <a:pt x="180689" y="217932"/>
                  <a:pt x="217932" y="180785"/>
                  <a:pt x="217932" y="113348"/>
                </a:cubicBezTo>
                <a:lnTo>
                  <a:pt x="217932" y="104584"/>
                </a:lnTo>
                <a:cubicBezTo>
                  <a:pt x="217837" y="37148"/>
                  <a:pt x="180594" y="0"/>
                  <a:pt x="113252" y="0"/>
                </a:cubicBezTo>
                <a:lnTo>
                  <a:pt x="104489" y="0"/>
                </a:lnTo>
                <a:cubicBezTo>
                  <a:pt x="37148" y="0"/>
                  <a:pt x="0" y="37148"/>
                  <a:pt x="0" y="104584"/>
                </a:cubicBezTo>
              </a:path>
            </a:pathLst>
          </a:custGeom>
          <a:solidFill>
            <a:schemeClr val="tx2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265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000" b="1" kern="1200">
          <a:solidFill>
            <a:schemeClr val="tx2"/>
          </a:solidFill>
          <a:latin typeface="Barlow" panose="00000500000000000000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" indent="-108000" algn="l" defTabSz="914400" rtl="0" eaLnBrk="1" latinLnBrk="0" hangingPunct="1">
        <a:lnSpc>
          <a:spcPct val="90000"/>
        </a:lnSpc>
        <a:spcBef>
          <a:spcPts val="0"/>
        </a:spcBef>
        <a:buFontTx/>
        <a:buBlip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</a:buBlip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0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BCEC6B-65B1-C259-0335-ABA1612C3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66" y="875659"/>
            <a:ext cx="10947494" cy="40055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E16317-17FC-63E7-AEBC-D6E71DDD32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666" y="1769110"/>
            <a:ext cx="10947494" cy="42808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16" name="Footer Placeholder 34">
            <a:extLst>
              <a:ext uri="{FF2B5EF4-FFF2-40B4-BE49-F238E27FC236}">
                <a16:creationId xmlns:a16="http://schemas.microsoft.com/office/drawing/2014/main" id="{6095EB5D-6B95-E383-8ACB-472522415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666" y="607549"/>
            <a:ext cx="5476334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kumimoji="0" lang="en-US" sz="700" b="0" i="0" u="none" strike="noStrike" kern="1200" cap="all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ora" pitchFamily="2" charset="0"/>
              </a:defRPr>
            </a:lvl1pPr>
          </a:lstStyle>
          <a:p>
            <a:pPr>
              <a:defRPr/>
            </a:pPr>
            <a:r>
              <a:rPr lang="fr-FR" dirty="0"/>
              <a:t>01  -  NOM DE </a:t>
            </a:r>
            <a:r>
              <a:rPr lang="fr-FR"/>
              <a:t>LA PARTIE</a:t>
            </a:r>
            <a:endParaRPr lang="fr-FR" dirty="0"/>
          </a:p>
        </p:txBody>
      </p:sp>
      <p:sp>
        <p:nvSpPr>
          <p:cNvPr id="17" name="Slide Number Placeholder 33">
            <a:extLst>
              <a:ext uri="{FF2B5EF4-FFF2-40B4-BE49-F238E27FC236}">
                <a16:creationId xmlns:a16="http://schemas.microsoft.com/office/drawing/2014/main" id="{6A7AF049-A6ED-B807-F379-3C88CFD64A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4592" y="6201807"/>
            <a:ext cx="22256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kumimoji="0" lang="en-US" sz="800" b="0" i="0" u="none" strike="noStrike" kern="1200" cap="all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defRPr>
            </a:lvl1pPr>
          </a:lstStyle>
          <a:p>
            <a:pPr>
              <a:defRPr/>
            </a:pPr>
            <a:fld id="{2BB4B52C-C79B-4D98-9A82-54432EC0592D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9B3A6B5-E4CD-1735-11AB-7DC0B6143C52}"/>
              </a:ext>
            </a:extLst>
          </p:cNvPr>
          <p:cNvGrpSpPr/>
          <p:nvPr userDrawn="1"/>
        </p:nvGrpSpPr>
        <p:grpSpPr>
          <a:xfrm>
            <a:off x="-2" y="-2"/>
            <a:ext cx="12192002" cy="6858002"/>
            <a:chOff x="-2" y="-2"/>
            <a:chExt cx="12192002" cy="685800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E02D577-7C09-D22E-7318-3CCFAC78F74D}"/>
                </a:ext>
              </a:extLst>
            </p:cNvPr>
            <p:cNvGrpSpPr/>
            <p:nvPr userDrawn="1"/>
          </p:nvGrpSpPr>
          <p:grpSpPr>
            <a:xfrm>
              <a:off x="-2" y="0"/>
              <a:ext cx="12192002" cy="3429001"/>
              <a:chOff x="-2" y="-1"/>
              <a:chExt cx="12192002" cy="3429001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6502DB1F-BB31-688A-932D-C8BB6A4AD703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260985" cy="3429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78E39F1-57DF-A64E-4F73-32F1266F639E}"/>
                  </a:ext>
                </a:extLst>
              </p:cNvPr>
              <p:cNvSpPr/>
              <p:nvPr userDrawn="1"/>
            </p:nvSpPr>
            <p:spPr>
              <a:xfrm>
                <a:off x="11931015" y="0"/>
                <a:ext cx="260985" cy="3429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7F69178-71F4-7899-4201-AD1A8F696C49}"/>
                  </a:ext>
                </a:extLst>
              </p:cNvPr>
              <p:cNvSpPr/>
              <p:nvPr userDrawn="1"/>
            </p:nvSpPr>
            <p:spPr>
              <a:xfrm rot="16200000">
                <a:off x="5965505" y="-5965508"/>
                <a:ext cx="260985" cy="1219199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642B619-6CC9-35A6-6F49-694FBE36B5EC}"/>
                </a:ext>
              </a:extLst>
            </p:cNvPr>
            <p:cNvGrpSpPr/>
            <p:nvPr userDrawn="1"/>
          </p:nvGrpSpPr>
          <p:grpSpPr>
            <a:xfrm>
              <a:off x="9414508" y="-2"/>
              <a:ext cx="1392566" cy="373381"/>
              <a:chOff x="9414508" y="427110"/>
              <a:chExt cx="1392566" cy="37338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B0CDC7-807C-FE05-EB86-FF6D8B63CCB9}"/>
                  </a:ext>
                </a:extLst>
              </p:cNvPr>
              <p:cNvSpPr/>
              <p:nvPr userDrawn="1"/>
            </p:nvSpPr>
            <p:spPr>
              <a:xfrm rot="16200000">
                <a:off x="9924100" y="-82482"/>
                <a:ext cx="373381" cy="139256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pic>
            <p:nvPicPr>
              <p:cNvPr id="12" name="Google Shape;303;p49" title="COGEDIM_Logo_RVB.png">
                <a:extLst>
                  <a:ext uri="{FF2B5EF4-FFF2-40B4-BE49-F238E27FC236}">
                    <a16:creationId xmlns:a16="http://schemas.microsoft.com/office/drawing/2014/main" id="{CD8B3FB7-A09C-4534-75EB-5F88B0397A05}"/>
                  </a:ext>
                </a:extLst>
              </p:cNvPr>
              <p:cNvPicPr preferRelativeResize="0"/>
              <p:nvPr userDrawn="1"/>
            </p:nvPicPr>
            <p:blipFill>
              <a:blip r:embed="rId24" cstate="screen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25">
                        <a14:imgEffect>
                          <a14:brightnessContrast bright="100000"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546909" y="512452"/>
                <a:ext cx="1127762" cy="20269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2C59A7C-B145-5C3B-CC0F-11D73717A858}"/>
                </a:ext>
              </a:extLst>
            </p:cNvPr>
            <p:cNvGrpSpPr/>
            <p:nvPr userDrawn="1"/>
          </p:nvGrpSpPr>
          <p:grpSpPr>
            <a:xfrm rot="10800000">
              <a:off x="-2" y="3428999"/>
              <a:ext cx="12192002" cy="3429001"/>
              <a:chOff x="-2" y="-1"/>
              <a:chExt cx="12192002" cy="3429001"/>
            </a:xfrm>
            <a:solidFill>
              <a:schemeClr val="tx2"/>
            </a:solidFill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0E51203-CFB1-7E45-7F14-F0DBFAE3D115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260985" cy="3429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900AF62-72A6-3008-8BCB-DA55B1C57B1C}"/>
                  </a:ext>
                </a:extLst>
              </p:cNvPr>
              <p:cNvSpPr/>
              <p:nvPr userDrawn="1"/>
            </p:nvSpPr>
            <p:spPr>
              <a:xfrm>
                <a:off x="11931015" y="0"/>
                <a:ext cx="260985" cy="3429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C30686B8-6EBA-DB4D-489F-A19ADD175BEE}"/>
                  </a:ext>
                </a:extLst>
              </p:cNvPr>
              <p:cNvSpPr/>
              <p:nvPr userDrawn="1"/>
            </p:nvSpPr>
            <p:spPr>
              <a:xfrm rot="16200000">
                <a:off x="5965505" y="-5965508"/>
                <a:ext cx="260985" cy="121919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714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</p:sldLayoutIdLst>
  <p:hf hdr="0" dt="0"/>
  <p:txStyles>
    <p:titleStyle>
      <a:lvl1pPr marL="0" algn="l" defTabSz="914400" rtl="0" eaLnBrk="1" latinLnBrk="0" hangingPunct="1">
        <a:lnSpc>
          <a:spcPct val="85000"/>
        </a:lnSpc>
        <a:spcBef>
          <a:spcPct val="0"/>
        </a:spcBef>
        <a:buNone/>
        <a:defRPr lang="fr-FR" sz="3000" b="1" kern="120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0"/>
        </a:spcBef>
        <a:buClr>
          <a:srgbClr val="7030A0"/>
        </a:buClr>
        <a:buFont typeface="Epilogue" pitchFamily="2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0"/>
        </a:spcBef>
        <a:buClr>
          <a:srgbClr val="7030A0"/>
        </a:buClr>
        <a:buFont typeface="Epilogue" pitchFamily="2" charset="0"/>
        <a:buChar char="→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0"/>
        </a:spcBef>
        <a:buClr>
          <a:srgbClr val="7030A0"/>
        </a:buClr>
        <a:buFont typeface="Epilogue" pitchFamily="2" charset="0"/>
        <a:buChar char="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0"/>
        </a:spcBef>
        <a:buClr>
          <a:srgbClr val="7030A0"/>
        </a:buClr>
        <a:buFont typeface="Epilogue" pitchFamily="2" charset="0"/>
        <a:buChar char="→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8">
          <p15:clr>
            <a:srgbClr val="F26B43"/>
          </p15:clr>
        </p15:guide>
        <p15:guide id="4" pos="7288">
          <p15:clr>
            <a:srgbClr val="F26B43"/>
          </p15:clr>
        </p15:guide>
        <p15:guide id="5" orient="horz" pos="3812">
          <p15:clr>
            <a:srgbClr val="F26B43"/>
          </p15:clr>
        </p15:guide>
        <p15:guide id="6" orient="horz" pos="39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746">
          <p15:clr>
            <a:srgbClr val="F26B43"/>
          </p15:clr>
        </p15:guide>
        <p15:guide id="9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jpe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jpeg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jpeg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jpeg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jpeg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jpeg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jpe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jpeg"/><Relationship Id="rId1" Type="http://schemas.openxmlformats.org/officeDocument/2006/relationships/slideLayout" Target="../slideLayouts/slideLayout5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jpeg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jpeg"/><Relationship Id="rId1" Type="http://schemas.openxmlformats.org/officeDocument/2006/relationships/slideLayout" Target="../slideLayouts/slideLayout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jpeg"/><Relationship Id="rId1" Type="http://schemas.openxmlformats.org/officeDocument/2006/relationships/slideLayout" Target="../slideLayouts/slideLayout5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jpeg"/><Relationship Id="rId1" Type="http://schemas.openxmlformats.org/officeDocument/2006/relationships/slideLayout" Target="../slideLayouts/slideLayout5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jpe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7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jpeg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jpeg"/><Relationship Id="rId1" Type="http://schemas.openxmlformats.org/officeDocument/2006/relationships/slideLayout" Target="../slideLayouts/slideLayout7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jpeg"/><Relationship Id="rId1" Type="http://schemas.openxmlformats.org/officeDocument/2006/relationships/slideLayout" Target="../slideLayouts/slideLayout7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jpeg"/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4.png"/><Relationship Id="rId18" Type="http://schemas.openxmlformats.org/officeDocument/2006/relationships/image" Target="../media/image59.png"/><Relationship Id="rId26" Type="http://schemas.openxmlformats.org/officeDocument/2006/relationships/image" Target="../media/image67.png"/><Relationship Id="rId39" Type="http://schemas.openxmlformats.org/officeDocument/2006/relationships/image" Target="../media/image80.jpeg"/><Relationship Id="rId21" Type="http://schemas.openxmlformats.org/officeDocument/2006/relationships/image" Target="../media/image62.jpeg"/><Relationship Id="rId34" Type="http://schemas.openxmlformats.org/officeDocument/2006/relationships/image" Target="../media/image75.png"/><Relationship Id="rId42" Type="http://schemas.openxmlformats.org/officeDocument/2006/relationships/image" Target="../media/image83.svg"/><Relationship Id="rId47" Type="http://schemas.openxmlformats.org/officeDocument/2006/relationships/image" Target="../media/image88.jpeg"/><Relationship Id="rId50" Type="http://schemas.openxmlformats.org/officeDocument/2006/relationships/image" Target="../media/image91.png"/><Relationship Id="rId55" Type="http://schemas.openxmlformats.org/officeDocument/2006/relationships/image" Target="../media/image96.jpe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7.png"/><Relationship Id="rId29" Type="http://schemas.openxmlformats.org/officeDocument/2006/relationships/image" Target="../media/image70.jpeg"/><Relationship Id="rId11" Type="http://schemas.openxmlformats.org/officeDocument/2006/relationships/image" Target="../media/image52.jpeg"/><Relationship Id="rId24" Type="http://schemas.openxmlformats.org/officeDocument/2006/relationships/image" Target="../media/image65.jpeg"/><Relationship Id="rId32" Type="http://schemas.openxmlformats.org/officeDocument/2006/relationships/image" Target="../media/image73.png"/><Relationship Id="rId37" Type="http://schemas.openxmlformats.org/officeDocument/2006/relationships/image" Target="../media/image78.png"/><Relationship Id="rId40" Type="http://schemas.openxmlformats.org/officeDocument/2006/relationships/image" Target="../media/image81.png"/><Relationship Id="rId45" Type="http://schemas.openxmlformats.org/officeDocument/2006/relationships/image" Target="../media/image86.png"/><Relationship Id="rId53" Type="http://schemas.openxmlformats.org/officeDocument/2006/relationships/image" Target="../media/image94.png"/><Relationship Id="rId58" Type="http://schemas.openxmlformats.org/officeDocument/2006/relationships/image" Target="../media/image99.png"/><Relationship Id="rId5" Type="http://schemas.openxmlformats.org/officeDocument/2006/relationships/image" Target="../media/image46.png"/><Relationship Id="rId61" Type="http://schemas.openxmlformats.org/officeDocument/2006/relationships/image" Target="../media/image102.png"/><Relationship Id="rId19" Type="http://schemas.openxmlformats.org/officeDocument/2006/relationships/image" Target="../media/image60.png"/><Relationship Id="rId14" Type="http://schemas.openxmlformats.org/officeDocument/2006/relationships/image" Target="../media/image55.png"/><Relationship Id="rId22" Type="http://schemas.openxmlformats.org/officeDocument/2006/relationships/image" Target="../media/image63.png"/><Relationship Id="rId27" Type="http://schemas.openxmlformats.org/officeDocument/2006/relationships/image" Target="../media/image68.png"/><Relationship Id="rId30" Type="http://schemas.openxmlformats.org/officeDocument/2006/relationships/image" Target="../media/image71.jpeg"/><Relationship Id="rId35" Type="http://schemas.openxmlformats.org/officeDocument/2006/relationships/image" Target="../media/image76.png"/><Relationship Id="rId43" Type="http://schemas.openxmlformats.org/officeDocument/2006/relationships/image" Target="../media/image84.jpeg"/><Relationship Id="rId48" Type="http://schemas.openxmlformats.org/officeDocument/2006/relationships/image" Target="../media/image89.png"/><Relationship Id="rId56" Type="http://schemas.openxmlformats.org/officeDocument/2006/relationships/image" Target="../media/image97.png"/><Relationship Id="rId8" Type="http://schemas.openxmlformats.org/officeDocument/2006/relationships/image" Target="../media/image49.png"/><Relationship Id="rId51" Type="http://schemas.openxmlformats.org/officeDocument/2006/relationships/image" Target="../media/image92.png"/><Relationship Id="rId3" Type="http://schemas.openxmlformats.org/officeDocument/2006/relationships/image" Target="../media/image44.jpe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5" Type="http://schemas.openxmlformats.org/officeDocument/2006/relationships/image" Target="../media/image66.jpeg"/><Relationship Id="rId33" Type="http://schemas.openxmlformats.org/officeDocument/2006/relationships/image" Target="../media/image74.png"/><Relationship Id="rId38" Type="http://schemas.openxmlformats.org/officeDocument/2006/relationships/image" Target="../media/image79.png"/><Relationship Id="rId46" Type="http://schemas.openxmlformats.org/officeDocument/2006/relationships/image" Target="../media/image87.png"/><Relationship Id="rId59" Type="http://schemas.openxmlformats.org/officeDocument/2006/relationships/image" Target="../media/image100.jpeg"/><Relationship Id="rId20" Type="http://schemas.openxmlformats.org/officeDocument/2006/relationships/image" Target="../media/image61.png"/><Relationship Id="rId41" Type="http://schemas.openxmlformats.org/officeDocument/2006/relationships/image" Target="../media/image82.jpeg"/><Relationship Id="rId54" Type="http://schemas.openxmlformats.org/officeDocument/2006/relationships/image" Target="../media/image95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47.png"/><Relationship Id="rId15" Type="http://schemas.openxmlformats.org/officeDocument/2006/relationships/image" Target="../media/image56.jpeg"/><Relationship Id="rId23" Type="http://schemas.openxmlformats.org/officeDocument/2006/relationships/image" Target="../media/image64.jpeg"/><Relationship Id="rId28" Type="http://schemas.openxmlformats.org/officeDocument/2006/relationships/image" Target="../media/image69.png"/><Relationship Id="rId36" Type="http://schemas.openxmlformats.org/officeDocument/2006/relationships/image" Target="../media/image77.png"/><Relationship Id="rId49" Type="http://schemas.openxmlformats.org/officeDocument/2006/relationships/image" Target="../media/image90.png"/><Relationship Id="rId57" Type="http://schemas.openxmlformats.org/officeDocument/2006/relationships/image" Target="../media/image98.png"/><Relationship Id="rId10" Type="http://schemas.openxmlformats.org/officeDocument/2006/relationships/image" Target="../media/image51.png"/><Relationship Id="rId31" Type="http://schemas.openxmlformats.org/officeDocument/2006/relationships/image" Target="../media/image72.jpeg"/><Relationship Id="rId44" Type="http://schemas.openxmlformats.org/officeDocument/2006/relationships/image" Target="../media/image85.png"/><Relationship Id="rId52" Type="http://schemas.openxmlformats.org/officeDocument/2006/relationships/image" Target="../media/image93.png"/><Relationship Id="rId60" Type="http://schemas.openxmlformats.org/officeDocument/2006/relationships/image" Target="../media/image101.png"/><Relationship Id="rId4" Type="http://schemas.openxmlformats.org/officeDocument/2006/relationships/image" Target="../media/image45.jpeg"/><Relationship Id="rId9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26.png"/><Relationship Id="rId21" Type="http://schemas.openxmlformats.org/officeDocument/2006/relationships/image" Target="../media/image121.png"/><Relationship Id="rId42" Type="http://schemas.openxmlformats.org/officeDocument/2006/relationships/image" Target="../media/image141.jpeg"/><Relationship Id="rId47" Type="http://schemas.openxmlformats.org/officeDocument/2006/relationships/image" Target="../media/image146.png"/><Relationship Id="rId63" Type="http://schemas.openxmlformats.org/officeDocument/2006/relationships/image" Target="../media/image162.png"/><Relationship Id="rId68" Type="http://schemas.openxmlformats.org/officeDocument/2006/relationships/image" Target="../media/image167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16.png"/><Relationship Id="rId29" Type="http://schemas.openxmlformats.org/officeDocument/2006/relationships/image" Target="../media/image129.jpeg"/><Relationship Id="rId11" Type="http://schemas.openxmlformats.org/officeDocument/2006/relationships/image" Target="../media/image111.jpeg"/><Relationship Id="rId24" Type="http://schemas.openxmlformats.org/officeDocument/2006/relationships/image" Target="../media/image124.png"/><Relationship Id="rId32" Type="http://schemas.microsoft.com/office/2007/relationships/hdphoto" Target="../media/hdphoto3.wdp"/><Relationship Id="rId37" Type="http://schemas.openxmlformats.org/officeDocument/2006/relationships/image" Target="../media/image136.png"/><Relationship Id="rId40" Type="http://schemas.openxmlformats.org/officeDocument/2006/relationships/image" Target="../media/image139.png"/><Relationship Id="rId45" Type="http://schemas.openxmlformats.org/officeDocument/2006/relationships/image" Target="../media/image144.png"/><Relationship Id="rId53" Type="http://schemas.openxmlformats.org/officeDocument/2006/relationships/image" Target="../media/image152.jpeg"/><Relationship Id="rId58" Type="http://schemas.openxmlformats.org/officeDocument/2006/relationships/image" Target="../media/image157.png"/><Relationship Id="rId66" Type="http://schemas.openxmlformats.org/officeDocument/2006/relationships/image" Target="../media/image165.jpeg"/><Relationship Id="rId74" Type="http://schemas.openxmlformats.org/officeDocument/2006/relationships/image" Target="../media/image173.jpeg"/><Relationship Id="rId5" Type="http://schemas.openxmlformats.org/officeDocument/2006/relationships/image" Target="../media/image105.jpeg"/><Relationship Id="rId61" Type="http://schemas.openxmlformats.org/officeDocument/2006/relationships/image" Target="../media/image160.jpeg"/><Relationship Id="rId19" Type="http://schemas.openxmlformats.org/officeDocument/2006/relationships/image" Target="../media/image119.png"/><Relationship Id="rId14" Type="http://schemas.openxmlformats.org/officeDocument/2006/relationships/image" Target="../media/image114.jpeg"/><Relationship Id="rId22" Type="http://schemas.openxmlformats.org/officeDocument/2006/relationships/image" Target="../media/image122.jpeg"/><Relationship Id="rId27" Type="http://schemas.openxmlformats.org/officeDocument/2006/relationships/image" Target="../media/image127.jpeg"/><Relationship Id="rId30" Type="http://schemas.openxmlformats.org/officeDocument/2006/relationships/image" Target="../media/image130.jpeg"/><Relationship Id="rId35" Type="http://schemas.openxmlformats.org/officeDocument/2006/relationships/image" Target="../media/image134.jpeg"/><Relationship Id="rId43" Type="http://schemas.openxmlformats.org/officeDocument/2006/relationships/image" Target="../media/image142.png"/><Relationship Id="rId48" Type="http://schemas.openxmlformats.org/officeDocument/2006/relationships/image" Target="../media/image147.png"/><Relationship Id="rId56" Type="http://schemas.openxmlformats.org/officeDocument/2006/relationships/image" Target="../media/image155.png"/><Relationship Id="rId64" Type="http://schemas.openxmlformats.org/officeDocument/2006/relationships/image" Target="../media/image163.png"/><Relationship Id="rId69" Type="http://schemas.openxmlformats.org/officeDocument/2006/relationships/image" Target="../media/image168.jpeg"/><Relationship Id="rId8" Type="http://schemas.openxmlformats.org/officeDocument/2006/relationships/image" Target="../media/image108.png"/><Relationship Id="rId51" Type="http://schemas.openxmlformats.org/officeDocument/2006/relationships/image" Target="../media/image150.png"/><Relationship Id="rId72" Type="http://schemas.openxmlformats.org/officeDocument/2006/relationships/image" Target="../media/image171.png"/><Relationship Id="rId3" Type="http://schemas.openxmlformats.org/officeDocument/2006/relationships/image" Target="../media/image103.jpeg"/><Relationship Id="rId12" Type="http://schemas.openxmlformats.org/officeDocument/2006/relationships/image" Target="../media/image112.png"/><Relationship Id="rId17" Type="http://schemas.openxmlformats.org/officeDocument/2006/relationships/image" Target="../media/image117.png"/><Relationship Id="rId25" Type="http://schemas.openxmlformats.org/officeDocument/2006/relationships/image" Target="../media/image125.png"/><Relationship Id="rId33" Type="http://schemas.openxmlformats.org/officeDocument/2006/relationships/image" Target="../media/image132.jpeg"/><Relationship Id="rId38" Type="http://schemas.openxmlformats.org/officeDocument/2006/relationships/image" Target="../media/image137.jpeg"/><Relationship Id="rId46" Type="http://schemas.openxmlformats.org/officeDocument/2006/relationships/image" Target="../media/image145.jpeg"/><Relationship Id="rId59" Type="http://schemas.openxmlformats.org/officeDocument/2006/relationships/image" Target="../media/image158.jpeg"/><Relationship Id="rId67" Type="http://schemas.openxmlformats.org/officeDocument/2006/relationships/image" Target="../media/image166.png"/><Relationship Id="rId20" Type="http://schemas.openxmlformats.org/officeDocument/2006/relationships/image" Target="../media/image120.jpeg"/><Relationship Id="rId41" Type="http://schemas.openxmlformats.org/officeDocument/2006/relationships/image" Target="../media/image140.png"/><Relationship Id="rId54" Type="http://schemas.openxmlformats.org/officeDocument/2006/relationships/image" Target="../media/image153.png"/><Relationship Id="rId62" Type="http://schemas.openxmlformats.org/officeDocument/2006/relationships/image" Target="../media/image161.jpeg"/><Relationship Id="rId70" Type="http://schemas.openxmlformats.org/officeDocument/2006/relationships/image" Target="../media/image169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06.png"/><Relationship Id="rId15" Type="http://schemas.openxmlformats.org/officeDocument/2006/relationships/image" Target="../media/image115.png"/><Relationship Id="rId23" Type="http://schemas.openxmlformats.org/officeDocument/2006/relationships/image" Target="../media/image123.jpeg"/><Relationship Id="rId28" Type="http://schemas.openxmlformats.org/officeDocument/2006/relationships/image" Target="../media/image128.jpeg"/><Relationship Id="rId36" Type="http://schemas.openxmlformats.org/officeDocument/2006/relationships/image" Target="../media/image135.jpeg"/><Relationship Id="rId49" Type="http://schemas.openxmlformats.org/officeDocument/2006/relationships/image" Target="../media/image148.png"/><Relationship Id="rId57" Type="http://schemas.openxmlformats.org/officeDocument/2006/relationships/image" Target="../media/image156.jpeg"/><Relationship Id="rId10" Type="http://schemas.openxmlformats.org/officeDocument/2006/relationships/image" Target="../media/image110.png"/><Relationship Id="rId31" Type="http://schemas.openxmlformats.org/officeDocument/2006/relationships/image" Target="../media/image131.png"/><Relationship Id="rId44" Type="http://schemas.openxmlformats.org/officeDocument/2006/relationships/image" Target="../media/image143.jpeg"/><Relationship Id="rId52" Type="http://schemas.openxmlformats.org/officeDocument/2006/relationships/image" Target="../media/image151.jpeg"/><Relationship Id="rId60" Type="http://schemas.openxmlformats.org/officeDocument/2006/relationships/image" Target="../media/image159.jpeg"/><Relationship Id="rId65" Type="http://schemas.openxmlformats.org/officeDocument/2006/relationships/image" Target="../media/image164.png"/><Relationship Id="rId73" Type="http://schemas.openxmlformats.org/officeDocument/2006/relationships/image" Target="../media/image172.jpeg"/><Relationship Id="rId4" Type="http://schemas.openxmlformats.org/officeDocument/2006/relationships/image" Target="../media/image104.png"/><Relationship Id="rId9" Type="http://schemas.openxmlformats.org/officeDocument/2006/relationships/image" Target="../media/image109.png"/><Relationship Id="rId13" Type="http://schemas.openxmlformats.org/officeDocument/2006/relationships/image" Target="../media/image113.jpeg"/><Relationship Id="rId18" Type="http://schemas.openxmlformats.org/officeDocument/2006/relationships/image" Target="../media/image118.png"/><Relationship Id="rId39" Type="http://schemas.openxmlformats.org/officeDocument/2006/relationships/image" Target="../media/image138.jpeg"/><Relationship Id="rId34" Type="http://schemas.openxmlformats.org/officeDocument/2006/relationships/image" Target="../media/image133.jpeg"/><Relationship Id="rId50" Type="http://schemas.openxmlformats.org/officeDocument/2006/relationships/image" Target="../media/image149.png"/><Relationship Id="rId55" Type="http://schemas.openxmlformats.org/officeDocument/2006/relationships/image" Target="../media/image154.png"/><Relationship Id="rId7" Type="http://schemas.openxmlformats.org/officeDocument/2006/relationships/image" Target="../media/image107.png"/><Relationship Id="rId71" Type="http://schemas.openxmlformats.org/officeDocument/2006/relationships/image" Target="../media/image170.jpe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2.png"/><Relationship Id="rId18" Type="http://schemas.openxmlformats.org/officeDocument/2006/relationships/image" Target="../media/image187.jpeg"/><Relationship Id="rId26" Type="http://schemas.openxmlformats.org/officeDocument/2006/relationships/image" Target="../media/image195.png"/><Relationship Id="rId39" Type="http://schemas.openxmlformats.org/officeDocument/2006/relationships/image" Target="../media/image208.png"/><Relationship Id="rId21" Type="http://schemas.openxmlformats.org/officeDocument/2006/relationships/image" Target="../media/image190.jpeg"/><Relationship Id="rId34" Type="http://schemas.openxmlformats.org/officeDocument/2006/relationships/image" Target="../media/image203.jpeg"/><Relationship Id="rId7" Type="http://schemas.openxmlformats.org/officeDocument/2006/relationships/image" Target="../media/image177.jpeg"/><Relationship Id="rId12" Type="http://schemas.openxmlformats.org/officeDocument/2006/relationships/image" Target="../media/image181.png"/><Relationship Id="rId17" Type="http://schemas.openxmlformats.org/officeDocument/2006/relationships/image" Target="../media/image186.png"/><Relationship Id="rId25" Type="http://schemas.openxmlformats.org/officeDocument/2006/relationships/image" Target="../media/image194.png"/><Relationship Id="rId33" Type="http://schemas.openxmlformats.org/officeDocument/2006/relationships/image" Target="../media/image202.png"/><Relationship Id="rId38" Type="http://schemas.openxmlformats.org/officeDocument/2006/relationships/image" Target="../media/image20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85.png"/><Relationship Id="rId20" Type="http://schemas.openxmlformats.org/officeDocument/2006/relationships/image" Target="../media/image189.png"/><Relationship Id="rId29" Type="http://schemas.openxmlformats.org/officeDocument/2006/relationships/image" Target="../media/image198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76.png"/><Relationship Id="rId11" Type="http://schemas.microsoft.com/office/2007/relationships/hdphoto" Target="../media/hdphoto5.wdp"/><Relationship Id="rId24" Type="http://schemas.openxmlformats.org/officeDocument/2006/relationships/image" Target="../media/image193.png"/><Relationship Id="rId32" Type="http://schemas.openxmlformats.org/officeDocument/2006/relationships/image" Target="../media/image201.jpeg"/><Relationship Id="rId37" Type="http://schemas.openxmlformats.org/officeDocument/2006/relationships/image" Target="../media/image206.jpeg"/><Relationship Id="rId5" Type="http://schemas.microsoft.com/office/2007/relationships/hdphoto" Target="../media/hdphoto4.wdp"/><Relationship Id="rId15" Type="http://schemas.openxmlformats.org/officeDocument/2006/relationships/image" Target="../media/image184.jpg"/><Relationship Id="rId23" Type="http://schemas.openxmlformats.org/officeDocument/2006/relationships/image" Target="../media/image192.jpeg"/><Relationship Id="rId28" Type="http://schemas.openxmlformats.org/officeDocument/2006/relationships/image" Target="../media/image197.png"/><Relationship Id="rId36" Type="http://schemas.openxmlformats.org/officeDocument/2006/relationships/image" Target="../media/image205.png"/><Relationship Id="rId10" Type="http://schemas.openxmlformats.org/officeDocument/2006/relationships/image" Target="../media/image180.png"/><Relationship Id="rId19" Type="http://schemas.openxmlformats.org/officeDocument/2006/relationships/image" Target="../media/image188.png"/><Relationship Id="rId31" Type="http://schemas.openxmlformats.org/officeDocument/2006/relationships/image" Target="../media/image200.jpeg"/><Relationship Id="rId4" Type="http://schemas.openxmlformats.org/officeDocument/2006/relationships/image" Target="../media/image175.png"/><Relationship Id="rId9" Type="http://schemas.openxmlformats.org/officeDocument/2006/relationships/image" Target="../media/image179.png"/><Relationship Id="rId14" Type="http://schemas.openxmlformats.org/officeDocument/2006/relationships/image" Target="../media/image183.png"/><Relationship Id="rId22" Type="http://schemas.openxmlformats.org/officeDocument/2006/relationships/image" Target="../media/image191.png"/><Relationship Id="rId27" Type="http://schemas.openxmlformats.org/officeDocument/2006/relationships/image" Target="../media/image196.jpeg"/><Relationship Id="rId30" Type="http://schemas.openxmlformats.org/officeDocument/2006/relationships/image" Target="../media/image199.jpeg"/><Relationship Id="rId35" Type="http://schemas.openxmlformats.org/officeDocument/2006/relationships/image" Target="../media/image204.png"/><Relationship Id="rId8" Type="http://schemas.openxmlformats.org/officeDocument/2006/relationships/image" Target="../media/image178.png"/><Relationship Id="rId3" Type="http://schemas.openxmlformats.org/officeDocument/2006/relationships/image" Target="../media/image17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2F682B-CD6F-9E25-3F01-5613E4D93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FR" dirty="0"/>
            </a:br>
            <a:r>
              <a:rPr lang="fr-FR" dirty="0"/>
              <a:t>Mot d’accue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31BBF16-7A3F-5187-7054-FC149FDDF7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497CB3D-04EC-2D19-8B80-E200CDA093A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36948" y="334845"/>
            <a:ext cx="5523706" cy="136918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18F59B1-FF74-3668-7F1A-4A3B988840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45143" y="-342069"/>
            <a:ext cx="12666133" cy="754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48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F19080-AD7C-FF49-CAA1-07047D3A4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6827DE9C-1C8B-B033-13B7-015ACB62FE0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86C3404-CC14-1BAC-F5BD-19EB601C1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ureaux CB3</a:t>
            </a:r>
            <a:br>
              <a:rPr lang="fr-FR" dirty="0"/>
            </a:br>
            <a:r>
              <a:rPr lang="fr-FR" dirty="0"/>
              <a:t>Sanofi et WO2</a:t>
            </a:r>
          </a:p>
        </p:txBody>
      </p:sp>
    </p:spTree>
    <p:extLst>
      <p:ext uri="{BB962C8B-B14F-4D97-AF65-F5344CB8AC3E}">
        <p14:creationId xmlns:p14="http://schemas.microsoft.com/office/powerpoint/2010/main" val="33579946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D45DF65-6F79-6D48-D62D-6262BAEF6D6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10881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14BBD-D693-6980-9048-582B2538B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13EAB3BB-CF77-C00F-F231-CAAB236B83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901678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AAC63E-452F-279F-9CE6-0AE66AF61F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99A9A3A0-254F-21CE-35B4-DC237ADCFC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19604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A9427C-69D8-70A2-87CA-AE433E864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FD98DBF6-C5CA-BE25-90F4-36E59C8D9A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9A48119-ED79-A0AC-F26B-C5D79F3FD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mpus EMEA</a:t>
            </a:r>
            <a:br>
              <a:rPr lang="fr-FR" dirty="0"/>
            </a:br>
            <a:r>
              <a:rPr lang="fr-FR" dirty="0"/>
              <a:t>Deloitte et Nexity</a:t>
            </a:r>
          </a:p>
        </p:txBody>
      </p:sp>
    </p:spTree>
    <p:extLst>
      <p:ext uri="{BB962C8B-B14F-4D97-AF65-F5344CB8AC3E}">
        <p14:creationId xmlns:p14="http://schemas.microsoft.com/office/powerpoint/2010/main" val="15582691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5299EC1-E257-D008-21E9-9317D0BED3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Espace réservé du numéro de diapositive 4" hidden="1">
            <a:extLst>
              <a:ext uri="{FF2B5EF4-FFF2-40B4-BE49-F238E27FC236}">
                <a16:creationId xmlns:a16="http://schemas.microsoft.com/office/drawing/2014/main" id="{9DBD03B6-E4FC-7499-07C2-17C5B13636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36381681-318F-F34D-BC07-1902CF377D87}" type="slidenum">
              <a:rPr lang="fr-FR" smtClean="0"/>
              <a:pPr>
                <a:spcAft>
                  <a:spcPts val="600"/>
                </a:spcAft>
              </a:pPr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32006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F4B4735D-A2D8-3357-343B-44637DDFBB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6" name="Espace réservé du numéro de diapositive 5" hidden="1">
            <a:extLst>
              <a:ext uri="{FF2B5EF4-FFF2-40B4-BE49-F238E27FC236}">
                <a16:creationId xmlns:a16="http://schemas.microsoft.com/office/drawing/2014/main" id="{05DAA3F6-58E1-FD7B-C256-F6E167C1C98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36381681-318F-F34D-BC07-1902CF377D87}" type="slidenum">
              <a:rPr lang="fr-FR" smtClean="0"/>
              <a:pPr>
                <a:spcAft>
                  <a:spcPts val="600"/>
                </a:spcAft>
              </a:pPr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937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7277A-2684-9BBC-F044-E6E0649E8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1AEE205-9C3E-3153-6CA5-163AA91F9C2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6" name="Espace réservé du numéro de diapositive 5" hidden="1">
            <a:extLst>
              <a:ext uri="{FF2B5EF4-FFF2-40B4-BE49-F238E27FC236}">
                <a16:creationId xmlns:a16="http://schemas.microsoft.com/office/drawing/2014/main" id="{E89B7B52-79A8-C3E1-4260-B67A9EA0CB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36381681-318F-F34D-BC07-1902CF377D87}" type="slidenum">
              <a:rPr lang="fr-FR" smtClean="0"/>
              <a:pPr>
                <a:spcAft>
                  <a:spcPts val="600"/>
                </a:spcAft>
              </a:pPr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00675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2BED1-510E-0CFF-38C2-E33EDE089A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72FD7D-F91F-E753-B5C0-633CE5480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676" y="188604"/>
            <a:ext cx="3600000" cy="540160"/>
          </a:xfrm>
        </p:spPr>
        <p:txBody>
          <a:bodyPr/>
          <a:lstStyle/>
          <a:p>
            <a:r>
              <a:rPr lang="fr-FR" sz="3600" dirty="0"/>
              <a:t>Campus Deloitt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EDAC3CF-F97A-3F5E-8CAF-DB74BAF10E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676" y="1049383"/>
            <a:ext cx="3863208" cy="6129236"/>
          </a:xfrm>
        </p:spPr>
        <p:txBody>
          <a:bodyPr>
            <a:normAutofit/>
          </a:bodyPr>
          <a:lstStyle/>
          <a:p>
            <a:r>
              <a:rPr lang="fr-FR" sz="1600" dirty="0"/>
              <a:t>Bailly Romainvilliers (77)</a:t>
            </a:r>
          </a:p>
          <a:p>
            <a:endParaRPr lang="fr-FR" sz="1600" dirty="0"/>
          </a:p>
          <a:p>
            <a:r>
              <a:rPr lang="fr-FR" sz="1600" dirty="0"/>
              <a:t>Architectes </a:t>
            </a:r>
            <a:r>
              <a:rPr lang="fr-FR" sz="1600" dirty="0">
                <a:solidFill>
                  <a:schemeClr val="tx1"/>
                </a:solidFill>
              </a:rPr>
              <a:t>Dubuisson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dirty="0"/>
              <a:t>Promoteur </a:t>
            </a:r>
            <a:r>
              <a:rPr lang="fr-FR" sz="1600" dirty="0">
                <a:solidFill>
                  <a:schemeClr val="tx1"/>
                </a:solidFill>
              </a:rPr>
              <a:t>Nexity </a:t>
            </a:r>
          </a:p>
          <a:p>
            <a:r>
              <a:rPr lang="fr-FR" sz="1600" dirty="0"/>
              <a:t>Utilisateur  </a:t>
            </a:r>
            <a:r>
              <a:rPr lang="fr-FR" sz="1600" dirty="0">
                <a:solidFill>
                  <a:schemeClr val="tx1"/>
                </a:solidFill>
              </a:rPr>
              <a:t>Deloitte (Lima </a:t>
            </a:r>
            <a:r>
              <a:rPr lang="fr-FR" sz="1600" dirty="0" err="1">
                <a:solidFill>
                  <a:schemeClr val="tx1"/>
                </a:solidFill>
              </a:rPr>
              <a:t>Property</a:t>
            </a:r>
            <a:r>
              <a:rPr lang="fr-FR" sz="1600" dirty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dirty="0">
                <a:solidFill>
                  <a:schemeClr val="tx1"/>
                </a:solidFill>
              </a:rPr>
              <a:t>Chiffres clés </a:t>
            </a:r>
            <a:endParaRPr lang="fr-FR" sz="1400" dirty="0"/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/>
                </a:solidFill>
                <a:latin typeface="Barlow" panose="00000500000000000000" pitchFamily="2" charset="0"/>
              </a:rPr>
              <a:t>Superficie du terrain : 14,7 ha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SDP : 23 385 m²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/>
                </a:solidFill>
                <a:latin typeface="Barlow" panose="00000500000000000000" pitchFamily="2" charset="0"/>
              </a:rPr>
              <a:t>R+2 + combles</a:t>
            </a:r>
          </a:p>
          <a:p>
            <a:pPr lvl="2"/>
            <a:endParaRPr lang="fr-FR" sz="1400" dirty="0">
              <a:solidFill>
                <a:schemeClr val="tx1"/>
              </a:solidFill>
              <a:latin typeface="+mj-lt"/>
            </a:endParaRPr>
          </a:p>
          <a:p>
            <a:pPr lvl="2"/>
            <a:r>
              <a:rPr lang="fr-FR" sz="1400" dirty="0">
                <a:latin typeface="+mj-lt"/>
              </a:rPr>
              <a:t>Projet lauréat des MIPIM Awards 2023</a:t>
            </a:r>
          </a:p>
          <a:p>
            <a:pPr lvl="2"/>
            <a:r>
              <a:rPr lang="fr-FR" sz="1400" dirty="0">
                <a:latin typeface="+mj-lt"/>
              </a:rPr>
              <a:t>catégorie Best Alternative Project</a:t>
            </a:r>
          </a:p>
          <a:p>
            <a:pPr lvl="2"/>
            <a:endParaRPr lang="fr-FR" sz="1400" dirty="0">
              <a:solidFill>
                <a:schemeClr val="tx1"/>
              </a:solidFill>
              <a:latin typeface="Barlow" panose="00000500000000000000" pitchFamily="2" charset="0"/>
            </a:endParaRPr>
          </a:p>
          <a:p>
            <a:r>
              <a:rPr lang="fr-FR" sz="1400" dirty="0"/>
              <a:t>Nexity</a:t>
            </a:r>
            <a:r>
              <a:rPr lang="fr-FR" sz="1400" dirty="0">
                <a:solidFill>
                  <a:schemeClr val="tx1"/>
                </a:solidFill>
              </a:rPr>
              <a:t>, 1er des trophées BBCA pour la 7ème année consécutive en 2025</a:t>
            </a:r>
          </a:p>
          <a:p>
            <a:pPr lvl="2"/>
            <a:endParaRPr lang="fr-FR" sz="1400" dirty="0">
              <a:solidFill>
                <a:schemeClr val="tx1"/>
              </a:solidFill>
              <a:latin typeface="Barlow" panose="00000500000000000000" pitchFamily="2" charset="0"/>
            </a:endParaRPr>
          </a:p>
          <a:p>
            <a:endParaRPr lang="fr-FR" dirty="0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16F476C7-FA97-BD0C-A663-2E314A39C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75324" y="2758012"/>
            <a:ext cx="3600000" cy="252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50" b="0" i="0" u="none" strike="noStrike" kern="1200" cap="all" spc="0" normalizeH="0" baseline="0" noProof="0">
                <a:ln>
                  <a:noFill/>
                </a:ln>
                <a:solidFill>
                  <a:srgbClr val="FF002D"/>
                </a:solidFill>
                <a:effectLst/>
                <a:uLnTx/>
                <a:uFillTx/>
                <a:latin typeface="Barlow Medium"/>
                <a:ea typeface="+mn-ea"/>
                <a:cs typeface="+mn-cs"/>
              </a:rPr>
              <a:t>Pied de page de la présentation I </a:t>
            </a:r>
            <a:r>
              <a:rPr kumimoji="0" lang="fr-FR" sz="950" b="1" i="0" u="none" strike="noStrike" kern="1200" cap="all" spc="0" normalizeH="0" baseline="0" noProof="0">
                <a:ln>
                  <a:noFill/>
                </a:ln>
                <a:solidFill>
                  <a:srgbClr val="FF002D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Confidentialité A</a:t>
            </a: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108DDBBF-A0F3-7E9B-2BE1-0357DC654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34CA73-E165-43C3-A7BE-6A64DCE862CA}" type="slidenum">
              <a:rPr kumimoji="0" lang="fr-FR" sz="950" b="0" i="0" u="none" strike="noStrike" kern="1200" cap="none" spc="0" normalizeH="0" baseline="0" noProof="0" smtClean="0">
                <a:ln>
                  <a:noFill/>
                </a:ln>
                <a:solidFill>
                  <a:srgbClr val="FF002D"/>
                </a:solidFill>
                <a:effectLst/>
                <a:uLnTx/>
                <a:uFillTx/>
                <a:latin typeface="Barlow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r-FR" sz="950" b="0" i="0" u="none" strike="noStrike" kern="1200" cap="none" spc="0" normalizeH="0" baseline="0" noProof="0">
              <a:ln>
                <a:noFill/>
              </a:ln>
              <a:solidFill>
                <a:srgbClr val="FF002D"/>
              </a:solidFill>
              <a:effectLst/>
              <a:uLnTx/>
              <a:uFillTx/>
              <a:latin typeface="Barlow Black"/>
              <a:ea typeface="+mn-ea"/>
              <a:cs typeface="+mn-cs"/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0F36A390-9D30-83B0-619F-7625DDA194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EB2AE03-D1A9-0885-2EB5-4867006213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7" name="Espace réservé pour une image  6">
            <a:extLst>
              <a:ext uri="{FF2B5EF4-FFF2-40B4-BE49-F238E27FC236}">
                <a16:creationId xmlns:a16="http://schemas.microsoft.com/office/drawing/2014/main" id="{F019F01A-E422-DD14-722C-429AAA5AA1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custGeom>
            <a:avLst/>
            <a:gdLst>
              <a:gd name="connsiteX0" fmla="*/ 4806155 w 8487609"/>
              <a:gd name="connsiteY0" fmla="*/ 0 h 6858000"/>
              <a:gd name="connsiteX1" fmla="*/ 6911099 w 8487609"/>
              <a:gd name="connsiteY1" fmla="*/ 0 h 6858000"/>
              <a:gd name="connsiteX2" fmla="*/ 8487609 w 8487609"/>
              <a:gd name="connsiteY2" fmla="*/ 0 h 6858000"/>
              <a:gd name="connsiteX3" fmla="*/ 8487609 w 8487609"/>
              <a:gd name="connsiteY3" fmla="*/ 6858000 h 6858000"/>
              <a:gd name="connsiteX4" fmla="*/ 6882424 w 8487609"/>
              <a:gd name="connsiteY4" fmla="*/ 6858000 h 6858000"/>
              <a:gd name="connsiteX5" fmla="*/ 0 w 8487609"/>
              <a:gd name="connsiteY5" fmla="*/ 6858000 h 6858000"/>
              <a:gd name="connsiteX6" fmla="*/ 124660 w 8487609"/>
              <a:gd name="connsiteY6" fmla="*/ 6494605 h 6858000"/>
              <a:gd name="connsiteX7" fmla="*/ 526498 w 8487609"/>
              <a:gd name="connsiteY7" fmla="*/ 3699257 h 6858000"/>
              <a:gd name="connsiteX8" fmla="*/ 526498 w 8487609"/>
              <a:gd name="connsiteY8" fmla="*/ 3176842 h 6858000"/>
              <a:gd name="connsiteX9" fmla="*/ 28674 w 8487609"/>
              <a:gd name="connsiteY9" fmla="*/ 63 h 6858000"/>
              <a:gd name="connsiteX10" fmla="*/ 4806155 w 8487609"/>
              <a:gd name="connsiteY10" fmla="*/ 6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87609" h="6858000">
                <a:moveTo>
                  <a:pt x="4806155" y="0"/>
                </a:moveTo>
                <a:lnTo>
                  <a:pt x="6911099" y="0"/>
                </a:lnTo>
                <a:lnTo>
                  <a:pt x="8487609" y="0"/>
                </a:lnTo>
                <a:lnTo>
                  <a:pt x="8487609" y="6858000"/>
                </a:lnTo>
                <a:lnTo>
                  <a:pt x="6882424" y="6858000"/>
                </a:lnTo>
                <a:lnTo>
                  <a:pt x="0" y="6858000"/>
                </a:lnTo>
                <a:lnTo>
                  <a:pt x="124660" y="6494605"/>
                </a:lnTo>
                <a:cubicBezTo>
                  <a:pt x="395499" y="5634541"/>
                  <a:pt x="526498" y="4691160"/>
                  <a:pt x="526498" y="3699257"/>
                </a:cubicBezTo>
                <a:lnTo>
                  <a:pt x="526498" y="3176842"/>
                </a:lnTo>
                <a:cubicBezTo>
                  <a:pt x="526498" y="2015871"/>
                  <a:pt x="364596" y="945007"/>
                  <a:pt x="28674" y="63"/>
                </a:cubicBezTo>
                <a:lnTo>
                  <a:pt x="4806155" y="6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4134667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804F9-FB7B-FFF7-6A04-550438DCB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pour une image  3">
            <a:extLst>
              <a:ext uri="{FF2B5EF4-FFF2-40B4-BE49-F238E27FC236}">
                <a16:creationId xmlns:a16="http://schemas.microsoft.com/office/drawing/2014/main" id="{87B34590-56D7-F42F-2335-85AC05B7DFC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custGeom>
            <a:avLst/>
            <a:gdLst>
              <a:gd name="connsiteX0" fmla="*/ 4806155 w 8487609"/>
              <a:gd name="connsiteY0" fmla="*/ 0 h 6858000"/>
              <a:gd name="connsiteX1" fmla="*/ 6911099 w 8487609"/>
              <a:gd name="connsiteY1" fmla="*/ 0 h 6858000"/>
              <a:gd name="connsiteX2" fmla="*/ 8487609 w 8487609"/>
              <a:gd name="connsiteY2" fmla="*/ 0 h 6858000"/>
              <a:gd name="connsiteX3" fmla="*/ 8487609 w 8487609"/>
              <a:gd name="connsiteY3" fmla="*/ 6858000 h 6858000"/>
              <a:gd name="connsiteX4" fmla="*/ 6882424 w 8487609"/>
              <a:gd name="connsiteY4" fmla="*/ 6858000 h 6858000"/>
              <a:gd name="connsiteX5" fmla="*/ 0 w 8487609"/>
              <a:gd name="connsiteY5" fmla="*/ 6858000 h 6858000"/>
              <a:gd name="connsiteX6" fmla="*/ 124660 w 8487609"/>
              <a:gd name="connsiteY6" fmla="*/ 6494605 h 6858000"/>
              <a:gd name="connsiteX7" fmla="*/ 526498 w 8487609"/>
              <a:gd name="connsiteY7" fmla="*/ 3699257 h 6858000"/>
              <a:gd name="connsiteX8" fmla="*/ 526498 w 8487609"/>
              <a:gd name="connsiteY8" fmla="*/ 3176842 h 6858000"/>
              <a:gd name="connsiteX9" fmla="*/ 28674 w 8487609"/>
              <a:gd name="connsiteY9" fmla="*/ 63 h 6858000"/>
              <a:gd name="connsiteX10" fmla="*/ 4806155 w 8487609"/>
              <a:gd name="connsiteY10" fmla="*/ 6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87609" h="6858000">
                <a:moveTo>
                  <a:pt x="4806155" y="0"/>
                </a:moveTo>
                <a:lnTo>
                  <a:pt x="6911099" y="0"/>
                </a:lnTo>
                <a:lnTo>
                  <a:pt x="8487609" y="0"/>
                </a:lnTo>
                <a:lnTo>
                  <a:pt x="8487609" y="6858000"/>
                </a:lnTo>
                <a:lnTo>
                  <a:pt x="6882424" y="6858000"/>
                </a:lnTo>
                <a:lnTo>
                  <a:pt x="0" y="6858000"/>
                </a:lnTo>
                <a:lnTo>
                  <a:pt x="124660" y="6494605"/>
                </a:lnTo>
                <a:cubicBezTo>
                  <a:pt x="395499" y="5634541"/>
                  <a:pt x="526498" y="4691160"/>
                  <a:pt x="526498" y="3699257"/>
                </a:cubicBezTo>
                <a:lnTo>
                  <a:pt x="526498" y="3176842"/>
                </a:lnTo>
                <a:cubicBezTo>
                  <a:pt x="526498" y="2015871"/>
                  <a:pt x="364596" y="945007"/>
                  <a:pt x="28674" y="63"/>
                </a:cubicBezTo>
                <a:lnTo>
                  <a:pt x="4806155" y="6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</p:spPr>
      </p:pic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D309AC08-522B-D8B4-7B56-C006B533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324" y="797384"/>
            <a:ext cx="540000" cy="2520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34CA73-E165-43C3-A7BE-6A64DCE862CA}" type="slidenum">
              <a:rPr kumimoji="0" lang="fr-FR" sz="950" b="0" i="0" u="none" strike="noStrike" kern="1200" cap="none" spc="0" normalizeH="0" baseline="0" noProof="0" smtClean="0">
                <a:ln>
                  <a:noFill/>
                </a:ln>
                <a:solidFill>
                  <a:srgbClr val="FF002D"/>
                </a:solidFill>
                <a:effectLst/>
                <a:uLnTx/>
                <a:uFillTx/>
                <a:latin typeface="Barlow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r-FR" sz="950" b="0" i="0" u="none" strike="noStrike" kern="1200" cap="none" spc="0" normalizeH="0" baseline="0" noProof="0">
              <a:ln>
                <a:noFill/>
              </a:ln>
              <a:solidFill>
                <a:srgbClr val="FF002D"/>
              </a:solidFill>
              <a:effectLst/>
              <a:uLnTx/>
              <a:uFillTx/>
              <a:latin typeface="Barlow Black"/>
              <a:ea typeface="+mn-ea"/>
              <a:cs typeface="+mn-cs"/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782C54-81CB-7A2C-E87B-19DB78E849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B5A3227-3E26-29E0-33C5-57ECF3BEE3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3107DCFA-BA54-E465-3846-15627BA86258}"/>
              </a:ext>
            </a:extLst>
          </p:cNvPr>
          <p:cNvSpPr txBox="1">
            <a:spLocks/>
          </p:cNvSpPr>
          <p:nvPr/>
        </p:nvSpPr>
        <p:spPr>
          <a:xfrm>
            <a:off x="246675" y="188604"/>
            <a:ext cx="3600000" cy="5401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srgbClr val="FF002D"/>
                </a:solidFill>
                <a:effectLst/>
                <a:uLnTx/>
                <a:uFillTx/>
                <a:latin typeface="Barlow Black"/>
                <a:ea typeface="+mj-ea"/>
                <a:cs typeface="+mj-cs"/>
              </a:rPr>
              <a:t>Campus Deloitte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6D8B9A3A-CED6-981C-A68F-96BD51E3AF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856" y="1636598"/>
            <a:ext cx="4034142" cy="4680000"/>
          </a:xfrm>
        </p:spPr>
        <p:txBody>
          <a:bodyPr>
            <a:norm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≈ 1 000 arbre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Matériaux simples, sains, durables et éco-labellisés A+ 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Démarche facilitant le réemploi (labellisation C2C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Production d’énergie renouvelable avec </a:t>
            </a:r>
          </a:p>
          <a:p>
            <a:pPr lvl="2"/>
            <a:r>
              <a:rPr lang="fr-FR" sz="1400" dirty="0">
                <a:latin typeface="Barlow" panose="00000500000000000000" pitchFamily="2" charset="0"/>
              </a:rPr>
              <a:t>        1 100 m² de panneaux photovoltaïques 	couvrant 40% des besoins du sit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Mobilités douces favorisées  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Structure partiellement en boi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Béton Bas Carbon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Chauffage et ventilation à l’aide de 4 PAC + 1 TFP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Consommation énergétique prévisionnelle : 60 </a:t>
            </a:r>
            <a:r>
              <a:rPr lang="fr-FR" sz="1400" dirty="0" err="1">
                <a:latin typeface="Barlow" panose="00000500000000000000" pitchFamily="2" charset="0"/>
              </a:rPr>
              <a:t>kWhep</a:t>
            </a:r>
            <a:r>
              <a:rPr lang="fr-FR" sz="1400" dirty="0">
                <a:latin typeface="Barlow" panose="00000500000000000000" pitchFamily="2" charset="0"/>
              </a:rPr>
              <a:t>/m²/an 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Barlow" panose="00000500000000000000" pitchFamily="2" charset="0"/>
              </a:rPr>
              <a:t>Émissions de GES prévisionnelles : 6,53 kg </a:t>
            </a:r>
            <a:r>
              <a:rPr lang="fr-FR" sz="1400" dirty="0" err="1">
                <a:latin typeface="Barlow" panose="00000500000000000000" pitchFamily="2" charset="0"/>
              </a:rPr>
              <a:t>CO₂e</a:t>
            </a:r>
            <a:r>
              <a:rPr lang="fr-FR" sz="1400" dirty="0">
                <a:latin typeface="Barlow" panose="00000500000000000000" pitchFamily="2" charset="0"/>
              </a:rPr>
              <a:t>/m²/an</a:t>
            </a:r>
          </a:p>
        </p:txBody>
      </p:sp>
    </p:spTree>
    <p:extLst>
      <p:ext uri="{BB962C8B-B14F-4D97-AF65-F5344CB8AC3E}">
        <p14:creationId xmlns:p14="http://schemas.microsoft.com/office/powerpoint/2010/main" val="2647042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A147F9A-6606-340D-822C-F37EBB0E4D6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81681-318F-F34D-BC07-1902CF377D87}" type="slidenum">
              <a:rPr kumimoji="0" lang="fr-FR" sz="1199" b="0" i="0" u="none" strike="noStrike" kern="1200" cap="none" spc="0" normalizeH="0" baseline="0" noProof="0" smtClean="0">
                <a:ln>
                  <a:noFill/>
                </a:ln>
                <a:solidFill>
                  <a:srgbClr val="A89590"/>
                </a:solidFill>
                <a:effectLst/>
                <a:uLnTx/>
                <a:uFillTx/>
                <a:latin typeface="Helvetica Neue" panose="02000503000000020004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199" b="0" i="0" u="none" strike="noStrike" kern="1200" cap="none" spc="0" normalizeH="0" baseline="0" noProof="0">
              <a:ln>
                <a:noFill/>
              </a:ln>
              <a:solidFill>
                <a:srgbClr val="A89590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25AFB25-E734-289C-5EF5-0D18DC88E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u programm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AB5FB2D-3860-F07A-2000-8A4C563BF39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0865" y="1298627"/>
            <a:ext cx="3565525" cy="282891"/>
          </a:xfrm>
        </p:spPr>
        <p:txBody>
          <a:bodyPr/>
          <a:lstStyle/>
          <a:p>
            <a:r>
              <a:rPr lang="fr-FR" dirty="0"/>
              <a:t>Prises de paro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25B7840-F9B1-064A-2F48-F3B0051F727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0865" y="1656126"/>
            <a:ext cx="5038405" cy="5010344"/>
          </a:xfrm>
        </p:spPr>
        <p:txBody>
          <a:bodyPr>
            <a:noAutofit/>
          </a:bodyPr>
          <a:lstStyle/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Mot d’accueil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Pourquoi cette thématique ?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Quelques chiffres et repères BBCA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Témoignages</a:t>
            </a:r>
          </a:p>
          <a:p>
            <a:pPr marL="1155432" lvl="2" indent="-171450">
              <a:buFont typeface="Arial" panose="020B0604020202020204" pitchFamily="34" charset="0"/>
              <a:buChar char="•"/>
            </a:pPr>
            <a:r>
              <a:rPr lang="fr-FR" sz="1400" dirty="0"/>
              <a:t>Bureaux CB3 / Sanofi et WO2</a:t>
            </a:r>
          </a:p>
          <a:p>
            <a:pPr marL="1155432" lvl="2" indent="-171450">
              <a:buFont typeface="Arial" panose="020B0604020202020204" pitchFamily="34" charset="0"/>
              <a:buChar char="•"/>
            </a:pPr>
            <a:r>
              <a:rPr lang="fr-FR" sz="1400" dirty="0"/>
              <a:t>Campus EMEA / Deloitte et Nexity</a:t>
            </a:r>
          </a:p>
          <a:p>
            <a:pPr marL="1155432" lvl="2" indent="-171450">
              <a:buFont typeface="Arial" panose="020B0604020202020204" pitchFamily="34" charset="0"/>
              <a:buChar char="•"/>
            </a:pPr>
            <a:r>
              <a:rPr lang="fr-FR" sz="1400" dirty="0"/>
              <a:t>Résidentiel / Altarea-Cogedim</a:t>
            </a:r>
          </a:p>
          <a:p>
            <a:pPr marL="1155432" lvl="2" indent="-171450">
              <a:buFont typeface="Arial" panose="020B0604020202020204" pitchFamily="34" charset="0"/>
              <a:buChar char="•"/>
            </a:pPr>
            <a:r>
              <a:rPr lang="fr-FR" sz="1400" dirty="0"/>
              <a:t>Investisseur / Groupama Immobilier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Synthèse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r>
              <a:rPr lang="fr-FR" sz="1400" dirty="0"/>
              <a:t>Questions/Réponses</a:t>
            </a:r>
          </a:p>
          <a:p>
            <a:pPr marL="698308" lvl="1" indent="-1714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698308" lvl="1" indent="-1714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698308" lvl="1" indent="-171450">
              <a:buFont typeface="Arial" panose="020B0604020202020204" pitchFamily="34" charset="0"/>
              <a:buChar char="•"/>
            </a:pPr>
            <a:endParaRPr lang="fr-FR" sz="1400" dirty="0"/>
          </a:p>
          <a:p>
            <a:pPr lvl="1"/>
            <a:endParaRPr lang="fr-FR" sz="1400" dirty="0"/>
          </a:p>
          <a:p>
            <a:pPr lvl="1"/>
            <a:endParaRPr lang="fr-FR" sz="1400" dirty="0"/>
          </a:p>
          <a:p>
            <a:pPr lvl="1"/>
            <a:endParaRPr lang="fr-FR" sz="1400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64363E1-FECA-BB99-1F1A-BF35974552B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02732" y="1746185"/>
            <a:ext cx="4823360" cy="3633777"/>
          </a:xfrm>
        </p:spPr>
        <p:txBody>
          <a:bodyPr>
            <a:normAutofit fontScale="92500"/>
          </a:bodyPr>
          <a:lstStyle/>
          <a:p>
            <a:pPr lvl="0"/>
            <a:r>
              <a:rPr lang="fr-FR" b="1" dirty="0"/>
              <a:t>Paul-Etienne de </a:t>
            </a:r>
            <a:r>
              <a:rPr lang="fr-FR" b="1" dirty="0" err="1"/>
              <a:t>Bayser</a:t>
            </a:r>
            <a:r>
              <a:rPr lang="fr-FR" dirty="0"/>
              <a:t>, Nest Program Head Real Estate &amp; Workplace chez Sanofi</a:t>
            </a:r>
          </a:p>
          <a:p>
            <a:pPr lvl="0"/>
            <a:r>
              <a:rPr lang="fr-FR" b="1" dirty="0"/>
              <a:t>Hélène Genin</a:t>
            </a:r>
            <a:r>
              <a:rPr lang="fr-FR" dirty="0"/>
              <a:t> – Déléguée générale BBCA</a:t>
            </a:r>
          </a:p>
          <a:p>
            <a:pPr lvl="0"/>
            <a:r>
              <a:rPr lang="fr-FR" b="1" dirty="0"/>
              <a:t>Laurent </a:t>
            </a:r>
            <a:r>
              <a:rPr lang="fr-FR" b="1" dirty="0" err="1"/>
              <a:t>Labaeye</a:t>
            </a:r>
            <a:r>
              <a:rPr lang="fr-FR" dirty="0"/>
              <a:t>, Directeur général adjoint Programmes Nexity Entreprises</a:t>
            </a:r>
          </a:p>
          <a:p>
            <a:pPr lvl="0"/>
            <a:r>
              <a:rPr lang="fr-FR" b="1" dirty="0"/>
              <a:t>Marc Lafont</a:t>
            </a:r>
            <a:r>
              <a:rPr lang="fr-FR" dirty="0"/>
              <a:t>, Président WO2 et Secrétaire général de BBCA</a:t>
            </a:r>
          </a:p>
          <a:p>
            <a:pPr lvl="0"/>
            <a:r>
              <a:rPr lang="fr-FR" b="1" dirty="0"/>
              <a:t>Olivier Mauduit</a:t>
            </a:r>
            <a:r>
              <a:rPr lang="fr-FR" dirty="0"/>
              <a:t>, Président Deloitte </a:t>
            </a:r>
            <a:r>
              <a:rPr lang="fr-FR" dirty="0" err="1"/>
              <a:t>University</a:t>
            </a:r>
            <a:r>
              <a:rPr lang="fr-FR" dirty="0"/>
              <a:t> EMEA</a:t>
            </a:r>
          </a:p>
          <a:p>
            <a:pPr lvl="0"/>
            <a:r>
              <a:rPr lang="fr-FR" b="1" dirty="0"/>
              <a:t>Julien Pemezec</a:t>
            </a:r>
            <a:r>
              <a:rPr lang="fr-FR" dirty="0"/>
              <a:t>, Directeur général délégué de Altarea Promotion et Cogedim et Membre du COMEX d’Altarea </a:t>
            </a:r>
          </a:p>
          <a:p>
            <a:pPr lvl="0"/>
            <a:r>
              <a:rPr lang="fr-FR" b="1" dirty="0"/>
              <a:t>Stanislas Pottier</a:t>
            </a:r>
            <a:r>
              <a:rPr lang="fr-FR" dirty="0"/>
              <a:t> – Président BBCA</a:t>
            </a:r>
          </a:p>
          <a:p>
            <a:pPr lvl="0"/>
            <a:r>
              <a:rPr lang="fr-FR" b="1" dirty="0"/>
              <a:t>Mathieu Tamaillon</a:t>
            </a:r>
            <a:r>
              <a:rPr lang="fr-FR" dirty="0"/>
              <a:t> – Directeur du développement durable chez Groupama Immobilier </a:t>
            </a:r>
            <a:r>
              <a:rPr lang="fr-FR" i="1" dirty="0"/>
              <a:t>(participation annulée)</a:t>
            </a:r>
          </a:p>
          <a:p>
            <a:pPr lvl="0"/>
            <a:endParaRPr lang="fr-FR" dirty="0"/>
          </a:p>
          <a:p>
            <a:pPr marL="12591" lvl="0" indent="0">
              <a:buNone/>
            </a:pPr>
            <a:r>
              <a:rPr lang="fr-FR" dirty="0"/>
              <a:t>Animation </a:t>
            </a:r>
            <a:r>
              <a:rPr lang="fr-FR" b="1" dirty="0"/>
              <a:t>Hélène Genin</a:t>
            </a:r>
          </a:p>
          <a:p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BE4EE1F6-B8A3-32CC-7645-6A7B0D0C90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5443" y="1349586"/>
            <a:ext cx="3565525" cy="282891"/>
          </a:xfrm>
        </p:spPr>
        <p:txBody>
          <a:bodyPr/>
          <a:lstStyle/>
          <a:p>
            <a:r>
              <a:rPr lang="fr-FR" dirty="0"/>
              <a:t>Intervenants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A7785B39-F45F-E515-3447-CEB9A233CD36}"/>
              </a:ext>
            </a:extLst>
          </p:cNvPr>
          <p:cNvSpPr txBox="1">
            <a:spLocks/>
          </p:cNvSpPr>
          <p:nvPr/>
        </p:nvSpPr>
        <p:spPr>
          <a:xfrm>
            <a:off x="6637686" y="3739969"/>
            <a:ext cx="4823360" cy="2042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98295" indent="-285704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526858" indent="0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83982" indent="0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441099" indent="0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98217" indent="0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591" marR="0" lvl="0" indent="0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Helvetica Neue" panose="02000503000000020004" pitchFamily="2" charset="0"/>
            </a:endParaRPr>
          </a:p>
          <a:p>
            <a:pPr marL="298295" marR="0" lvl="0" indent="-285704" algn="l" defTabSz="719875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Char char="●"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934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884F4-4361-EF4E-D363-DBE06EF5F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298F299-5F0C-9DEE-8690-ABD81782DB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63"/>
            <a:ext cx="1110892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A8F79419-712E-7B99-03D7-9775D08F8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25" y="1972131"/>
            <a:ext cx="10080000" cy="2880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0653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9F799-1043-2DD7-820C-43B487F0B9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F4B76CE-E794-70FA-4A0A-4D4956E6B82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63"/>
            <a:ext cx="1110892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BFECE410-E936-FE03-FDE8-A952373DB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25" y="1972131"/>
            <a:ext cx="10080000" cy="2880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4135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0DB16-37F8-8DE2-41A2-2B551D8935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B2BAF834-7FD2-745F-712C-A1567A0464E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>
            <a:fillRect/>
          </a:stretch>
        </p:blipFill>
        <p:spPr>
          <a:xfrm>
            <a:off x="20" y="63"/>
            <a:ext cx="1110892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92075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B8754-50DD-41E4-E1D7-0460B9A5B5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C6E68AAE-761F-E1D8-1D97-3020C8B70C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63"/>
            <a:ext cx="1110892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14399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C6BDF-F9E7-8C3B-5429-8C13C489E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41DC6478-73B3-D6DA-0885-908BECC77EA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63"/>
            <a:ext cx="11108924" cy="6857937"/>
          </a:xfrm>
          <a:custGeom>
            <a:avLst/>
            <a:gdLst>
              <a:gd name="connsiteX0" fmla="*/ 0 w 11108944"/>
              <a:gd name="connsiteY0" fmla="*/ 0 h 6857937"/>
              <a:gd name="connsiteX1" fmla="*/ 10610659 w 11108944"/>
              <a:gd name="connsiteY1" fmla="*/ 0 h 6857937"/>
              <a:gd name="connsiteX2" fmla="*/ 11108944 w 11108944"/>
              <a:gd name="connsiteY2" fmla="*/ 3176778 h 6857937"/>
              <a:gd name="connsiteX3" fmla="*/ 11108944 w 11108944"/>
              <a:gd name="connsiteY3" fmla="*/ 3699193 h 6857937"/>
              <a:gd name="connsiteX4" fmla="*/ 10581957 w 11108944"/>
              <a:gd name="connsiteY4" fmla="*/ 6857937 h 6857937"/>
              <a:gd name="connsiteX5" fmla="*/ 0 w 11108944"/>
              <a:gd name="connsiteY5" fmla="*/ 6857937 h 685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8944" h="6857937">
                <a:moveTo>
                  <a:pt x="0" y="0"/>
                </a:moveTo>
                <a:lnTo>
                  <a:pt x="10610659" y="0"/>
                </a:lnTo>
                <a:cubicBezTo>
                  <a:pt x="10946892" y="944944"/>
                  <a:pt x="11108944" y="2015808"/>
                  <a:pt x="11108944" y="3176778"/>
                </a:cubicBezTo>
                <a:lnTo>
                  <a:pt x="11108944" y="3699193"/>
                </a:lnTo>
                <a:cubicBezTo>
                  <a:pt x="11108944" y="4832731"/>
                  <a:pt x="10937684" y="5903024"/>
                  <a:pt x="10581957" y="6857937"/>
                </a:cubicBezTo>
                <a:lnTo>
                  <a:pt x="0" y="6857937"/>
                </a:ln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85657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1A551C-638A-DA05-A96D-B04A29BA8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C58A1B7E-059E-648C-9D99-4D47CCA649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F7004-3E72-CF76-EF42-2AC30F95B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sidentiel</a:t>
            </a:r>
            <a:br>
              <a:rPr lang="fr-FR" dirty="0"/>
            </a:br>
            <a:r>
              <a:rPr lang="fr-FR" dirty="0"/>
              <a:t>Altarea-Cogedim</a:t>
            </a:r>
          </a:p>
        </p:txBody>
      </p:sp>
    </p:spTree>
    <p:extLst>
      <p:ext uri="{BB962C8B-B14F-4D97-AF65-F5344CB8AC3E}">
        <p14:creationId xmlns:p14="http://schemas.microsoft.com/office/powerpoint/2010/main" val="19546407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55661-FEC0-0F0C-151A-45FCBD30A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66" y="875659"/>
            <a:ext cx="11060270" cy="792974"/>
          </a:xfrm>
        </p:spPr>
        <p:txBody>
          <a:bodyPr/>
          <a:lstStyle/>
          <a:p>
            <a:br>
              <a:rPr lang="fr-FR" dirty="0"/>
            </a:br>
            <a:endParaRPr lang="fr-FR" dirty="0"/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9EDF56E-E759-AF72-792B-C673960E3AC3}"/>
              </a:ext>
            </a:extLst>
          </p:cNvPr>
          <p:cNvSpPr txBox="1"/>
          <p:nvPr/>
        </p:nvSpPr>
        <p:spPr>
          <a:xfrm>
            <a:off x="3998983" y="458807"/>
            <a:ext cx="4473434" cy="986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lnSpc>
                <a:spcPct val="140000"/>
              </a:lnSpc>
              <a:spcAft>
                <a:spcPts val="600"/>
              </a:spcAft>
              <a:defRPr sz="900">
                <a:solidFill>
                  <a:srgbClr val="291E4E"/>
                </a:solidFill>
                <a:latin typeface="Graphik Regular" panose="020B0503030202060203" pitchFamily="34" charset="0"/>
                <a:ea typeface="Roboto Light" panose="02000000000000000000" pitchFamily="2" charset="0"/>
                <a:cs typeface="Circular Std Book" panose="020B060402010102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 panose="020B0503030202060203"/>
                <a:ea typeface="Roboto Light" panose="02000000000000000000" pitchFamily="2" charset="0"/>
              </a:rPr>
              <a:t>Albizzia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 panose="020B0503030202060203" pitchFamily="34" charset="0"/>
                <a:ea typeface="Roboto Light" panose="02000000000000000000" pitchFamily="2" charset="0"/>
              </a:rPr>
              <a:t> - Lyon 69			</a:t>
            </a:r>
          </a:p>
        </p:txBody>
      </p:sp>
      <p:pic>
        <p:nvPicPr>
          <p:cNvPr id="4" name="Image 3" descr="Une image contenant bâtiment, plein air, tour, ciel&#10;&#10;Le contenu généré par l’IA peut être incorrect.">
            <a:extLst>
              <a:ext uri="{FF2B5EF4-FFF2-40B4-BE49-F238E27FC236}">
                <a16:creationId xmlns:a16="http://schemas.microsoft.com/office/drawing/2014/main" id="{03B65029-8988-6DC9-FD52-B0CDD40C54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665" y="579996"/>
            <a:ext cx="3239618" cy="59160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32260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F17F8DC-C056-4454-DE11-605BED9A37FC}"/>
              </a:ext>
            </a:extLst>
          </p:cNvPr>
          <p:cNvSpPr txBox="1">
            <a:spLocks/>
          </p:cNvSpPr>
          <p:nvPr/>
        </p:nvSpPr>
        <p:spPr>
          <a:xfrm>
            <a:off x="8124092" y="478301"/>
            <a:ext cx="4834082" cy="514961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marL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FR" sz="3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/>
                <a:ea typeface="+mn-ea"/>
                <a:cs typeface="+mn-cs"/>
              </a:rPr>
              <a:t>Funkia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/>
                <a:ea typeface="+mn-ea"/>
                <a:cs typeface="+mn-cs"/>
              </a:rPr>
              <a:t> –Vanves 92	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B1180FF9-0CA0-669F-7347-AFBB7BDEE1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BB4B52C-C79B-4D98-9A82-54432EC0592D}" type="slidenum">
              <a:rPr kumimoji="0" lang="fr-FR" sz="800" b="0" i="0" u="none" strike="noStrike" kern="1200" cap="all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xend SemiBold" pitchFamily="2" charset="0"/>
              <a:ea typeface="+mn-ea"/>
              <a:cs typeface="Sora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0018A31-BA79-1A65-22B1-6738CA31E8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245" y="478301"/>
            <a:ext cx="7683306" cy="6075895"/>
          </a:xfrm>
          <a:custGeom>
            <a:avLst/>
            <a:gdLst>
              <a:gd name="connsiteX0" fmla="*/ 0 w 5836920"/>
              <a:gd name="connsiteY0" fmla="*/ 0 h 6325348"/>
              <a:gd name="connsiteX1" fmla="*/ 3322321 w 5836920"/>
              <a:gd name="connsiteY1" fmla="*/ 0 h 6325348"/>
              <a:gd name="connsiteX2" fmla="*/ 3322321 w 5836920"/>
              <a:gd name="connsiteY2" fmla="*/ 112508 h 6325348"/>
              <a:gd name="connsiteX3" fmla="*/ 4707257 w 5836920"/>
              <a:gd name="connsiteY3" fmla="*/ 112508 h 6325348"/>
              <a:gd name="connsiteX4" fmla="*/ 4707257 w 5836920"/>
              <a:gd name="connsiteY4" fmla="*/ 0 h 6325348"/>
              <a:gd name="connsiteX5" fmla="*/ 5836920 w 5836920"/>
              <a:gd name="connsiteY5" fmla="*/ 0 h 6325348"/>
              <a:gd name="connsiteX6" fmla="*/ 5836920 w 5836920"/>
              <a:gd name="connsiteY6" fmla="*/ 6325348 h 6325348"/>
              <a:gd name="connsiteX7" fmla="*/ 0 w 5836920"/>
              <a:gd name="connsiteY7" fmla="*/ 6325348 h 6325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36920" h="6325348">
                <a:moveTo>
                  <a:pt x="0" y="0"/>
                </a:moveTo>
                <a:lnTo>
                  <a:pt x="3322321" y="0"/>
                </a:lnTo>
                <a:lnTo>
                  <a:pt x="3322321" y="112508"/>
                </a:lnTo>
                <a:lnTo>
                  <a:pt x="4707257" y="112508"/>
                </a:lnTo>
                <a:lnTo>
                  <a:pt x="4707257" y="0"/>
                </a:lnTo>
                <a:lnTo>
                  <a:pt x="5836920" y="0"/>
                </a:lnTo>
                <a:lnTo>
                  <a:pt x="5836920" y="6325348"/>
                </a:lnTo>
                <a:lnTo>
                  <a:pt x="0" y="6325348"/>
                </a:lnTo>
                <a:close/>
              </a:path>
            </a:pathLst>
          </a:cu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60419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DEA750-FB74-093C-69AF-1CB07202E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0303" y="520655"/>
            <a:ext cx="4679997" cy="317863"/>
          </a:xfrm>
        </p:spPr>
        <p:txBody>
          <a:bodyPr/>
          <a:lstStyle/>
          <a:p>
            <a:r>
              <a:rPr lang="fr-FR" sz="2400" dirty="0">
                <a:latin typeface="Graphik Regular" panose="020B0503030202060203"/>
              </a:rPr>
              <a:t>Alba – La Garenne-Colombes 9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0281696-06EE-70C6-C392-B2834A615D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B4B52C-C79B-4D98-9A82-54432EC0592D}" type="slidenum">
              <a:rPr kumimoji="0" lang="fr-FR" sz="800" b="0" i="0" u="none" strike="noStrike" kern="1200" cap="all" spc="0" normalizeH="0" baseline="0" noProof="0" smtClean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401161"/>
              </a:solidFill>
              <a:effectLst/>
              <a:uLnTx/>
              <a:uFillTx/>
              <a:latin typeface="Lexend SemiBold" pitchFamily="2" charset="0"/>
              <a:ea typeface="+mn-ea"/>
              <a:cs typeface="Sora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9ABC20B-B456-509A-CB18-ABE47665C9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417" y="438105"/>
            <a:ext cx="5996015" cy="568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1160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55661-FEC0-0F0C-151A-45FCBD30A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66" y="879731"/>
            <a:ext cx="5032859" cy="792974"/>
          </a:xfrm>
        </p:spPr>
        <p:txBody>
          <a:bodyPr wrap="square" anchor="t">
            <a:normAutofit/>
          </a:bodyPr>
          <a:lstStyle/>
          <a:p>
            <a:br>
              <a:rPr lang="fr-FR" dirty="0"/>
            </a:br>
            <a:endParaRPr lang="fr-FR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7DFAB6C-7F47-F813-E93D-E052F78CFD4E}"/>
              </a:ext>
            </a:extLst>
          </p:cNvPr>
          <p:cNvSpPr txBox="1">
            <a:spLocks/>
          </p:cNvSpPr>
          <p:nvPr/>
        </p:nvSpPr>
        <p:spPr>
          <a:xfrm>
            <a:off x="6356501" y="461499"/>
            <a:ext cx="5032859" cy="39103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FR" sz="3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>
                    <a:lumMod val="75000"/>
                  </a:srgbClr>
                </a:solidFill>
                <a:effectLst/>
                <a:uLnTx/>
                <a:uFillTx/>
                <a:latin typeface="Graphik Regular"/>
                <a:ea typeface="+mn-ea"/>
                <a:cs typeface="+mn-cs"/>
              </a:rPr>
              <a:t>Evodia – Boulogne-Billancourt 92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599B79C2-967B-621B-5C3D-32A10D667F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4592" y="6201807"/>
            <a:ext cx="222568" cy="12311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BB4B52C-C79B-4D98-9A82-54432EC0592D}" type="slidenum">
              <a:rPr kumimoji="0" lang="fr-FR" sz="800" b="0" i="0" u="none" strike="noStrike" kern="1200" cap="all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fr-FR" sz="800" b="0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xend SemiBold" pitchFamily="2" charset="0"/>
              <a:ea typeface="+mn-ea"/>
              <a:cs typeface="Sora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2BBA027-3382-8922-7CC3-9731978A804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98909" y="309249"/>
            <a:ext cx="5797091" cy="6239501"/>
          </a:xfrm>
          <a:custGeom>
            <a:avLst/>
            <a:gdLst>
              <a:gd name="connsiteX0" fmla="*/ 0 w 5836920"/>
              <a:gd name="connsiteY0" fmla="*/ 0 h 6325348"/>
              <a:gd name="connsiteX1" fmla="*/ 3322321 w 5836920"/>
              <a:gd name="connsiteY1" fmla="*/ 0 h 6325348"/>
              <a:gd name="connsiteX2" fmla="*/ 3322321 w 5836920"/>
              <a:gd name="connsiteY2" fmla="*/ 112508 h 6325348"/>
              <a:gd name="connsiteX3" fmla="*/ 4707257 w 5836920"/>
              <a:gd name="connsiteY3" fmla="*/ 112508 h 6325348"/>
              <a:gd name="connsiteX4" fmla="*/ 4707257 w 5836920"/>
              <a:gd name="connsiteY4" fmla="*/ 0 h 6325348"/>
              <a:gd name="connsiteX5" fmla="*/ 5836920 w 5836920"/>
              <a:gd name="connsiteY5" fmla="*/ 0 h 6325348"/>
              <a:gd name="connsiteX6" fmla="*/ 5836920 w 5836920"/>
              <a:gd name="connsiteY6" fmla="*/ 6325348 h 6325348"/>
              <a:gd name="connsiteX7" fmla="*/ 0 w 5836920"/>
              <a:gd name="connsiteY7" fmla="*/ 6325348 h 6325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36920" h="6325348">
                <a:moveTo>
                  <a:pt x="0" y="0"/>
                </a:moveTo>
                <a:lnTo>
                  <a:pt x="3322321" y="0"/>
                </a:lnTo>
                <a:lnTo>
                  <a:pt x="3322321" y="112508"/>
                </a:lnTo>
                <a:lnTo>
                  <a:pt x="4707257" y="112508"/>
                </a:lnTo>
                <a:lnTo>
                  <a:pt x="4707257" y="0"/>
                </a:lnTo>
                <a:lnTo>
                  <a:pt x="5836920" y="0"/>
                </a:lnTo>
                <a:lnTo>
                  <a:pt x="5836920" y="6325348"/>
                </a:lnTo>
                <a:lnTo>
                  <a:pt x="0" y="6325348"/>
                </a:lnTo>
                <a:close/>
              </a:path>
            </a:pathLst>
          </a:cu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60859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EC505C4E-C966-BC74-93D0-B531FE10FC9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2BC3936-8015-5C97-FE91-6EA7FAB9F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t </a:t>
            </a:r>
            <a:br>
              <a:rPr lang="fr-FR" dirty="0"/>
            </a:br>
            <a:r>
              <a:rPr lang="fr-FR" dirty="0"/>
              <a:t>d’accueil</a:t>
            </a:r>
          </a:p>
        </p:txBody>
      </p:sp>
    </p:spTree>
    <p:extLst>
      <p:ext uri="{BB962C8B-B14F-4D97-AF65-F5344CB8AC3E}">
        <p14:creationId xmlns:p14="http://schemas.microsoft.com/office/powerpoint/2010/main" val="5261204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55661-FEC0-0F0C-151A-45FCBD30A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66" y="875659"/>
            <a:ext cx="11060270" cy="792974"/>
          </a:xfrm>
        </p:spPr>
        <p:txBody>
          <a:bodyPr/>
          <a:lstStyle/>
          <a:p>
            <a:br>
              <a:rPr lang="fr-FR" dirty="0"/>
            </a:br>
            <a:endParaRPr lang="fr-FR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7DFAB6C-7F47-F813-E93D-E052F78CFD4E}"/>
              </a:ext>
            </a:extLst>
          </p:cNvPr>
          <p:cNvSpPr txBox="1">
            <a:spLocks/>
          </p:cNvSpPr>
          <p:nvPr/>
        </p:nvSpPr>
        <p:spPr>
          <a:xfrm>
            <a:off x="7146886" y="450722"/>
            <a:ext cx="4699816" cy="3166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FR" sz="3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 panose="020B0503030202060203"/>
                <a:ea typeface="+mn-ea"/>
                <a:cs typeface="+mn-cs"/>
              </a:rPr>
              <a:t>	    Sequoia – Sceaux 92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D05B24B-CD74-12FB-4354-79CDB4ED86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5298" y="342474"/>
            <a:ext cx="7903578" cy="61599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18273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55661-FEC0-0F0C-151A-45FCBD30A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66" y="875659"/>
            <a:ext cx="11060270" cy="792974"/>
          </a:xfrm>
        </p:spPr>
        <p:txBody>
          <a:bodyPr/>
          <a:lstStyle/>
          <a:p>
            <a:br>
              <a:rPr lang="fr-FR" dirty="0"/>
            </a:br>
            <a:endParaRPr lang="fr-FR" dirty="0"/>
          </a:p>
        </p:txBody>
      </p:sp>
      <p:pic>
        <p:nvPicPr>
          <p:cNvPr id="1026" name="B2B86BDE-70F2-40C7-92E1-B387B6EB50B6" descr="IMG_3368.JPG">
            <a:extLst>
              <a:ext uri="{FF2B5EF4-FFF2-40B4-BE49-F238E27FC236}">
                <a16:creationId xmlns:a16="http://schemas.microsoft.com/office/drawing/2014/main" id="{C837C532-72E7-5242-DDD1-D437BABC4B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964" y="316799"/>
            <a:ext cx="7309219" cy="6211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CB24BD6-8861-25F4-9340-B23EA1A79A42}"/>
              </a:ext>
            </a:extLst>
          </p:cNvPr>
          <p:cNvSpPr txBox="1">
            <a:spLocks/>
          </p:cNvSpPr>
          <p:nvPr/>
        </p:nvSpPr>
        <p:spPr>
          <a:xfrm>
            <a:off x="7729481" y="422841"/>
            <a:ext cx="4409856" cy="6306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FR" sz="3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 panose="020B0503030202060203"/>
                <a:ea typeface="+mn-ea"/>
                <a:cs typeface="+mn-cs"/>
              </a:rPr>
              <a:t>Stellata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Graphik Regular" panose="020B0503030202060203"/>
                <a:ea typeface="+mn-ea"/>
                <a:cs typeface="+mn-cs"/>
              </a:rPr>
              <a:t> – Rueil-Malmaison 92	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7798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612E7D-8AC0-5FAA-2CAB-07BFDCFDE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9033" y="374737"/>
            <a:ext cx="5090160" cy="316690"/>
          </a:xfrm>
        </p:spPr>
        <p:txBody>
          <a:bodyPr/>
          <a:lstStyle/>
          <a:p>
            <a:r>
              <a:rPr lang="fr-FR" sz="2400" dirty="0">
                <a:latin typeface="Graphik Regular" panose="020B0503030202060203"/>
              </a:rPr>
              <a:t>Paris Rive Gauche – Paris 13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A3E5A6F-8DC5-5CB6-A73F-EFA47A7ED6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B4B52C-C79B-4D98-9A82-54432EC0592D}" type="slidenum">
              <a:rPr kumimoji="0" lang="fr-FR" sz="800" b="0" i="0" u="none" strike="noStrike" kern="1200" cap="all" spc="0" normalizeH="0" baseline="0" noProof="0" smtClean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401161"/>
              </a:solidFill>
              <a:effectLst/>
              <a:uLnTx/>
              <a:uFillTx/>
              <a:latin typeface="Lexend SemiBold" pitchFamily="2" charset="0"/>
              <a:ea typeface="+mn-ea"/>
              <a:cs typeface="Sora" pitchFamily="2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11A3175-BB4D-0889-A574-15F3F6C1B0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667" y="317659"/>
            <a:ext cx="6222682" cy="6222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081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843850-0186-67C1-63C1-237432AA5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1164" y="405001"/>
            <a:ext cx="3491345" cy="630622"/>
          </a:xfrm>
        </p:spPr>
        <p:txBody>
          <a:bodyPr/>
          <a:lstStyle/>
          <a:p>
            <a:r>
              <a:rPr lang="fr-FR" sz="2400" dirty="0">
                <a:latin typeface="Graphik Regular"/>
              </a:rPr>
              <a:t>Campus des Amandiers – Biot 06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6D3C380-41FB-36D8-2684-BD48CE6FBA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B4B52C-C79B-4D98-9A82-54432EC0592D}" type="slidenum">
              <a:rPr kumimoji="0" lang="fr-FR" sz="800" b="0" i="0" u="none" strike="noStrike" kern="1200" cap="all" spc="0" normalizeH="0" baseline="0" noProof="0" smtClean="0">
                <a:ln>
                  <a:noFill/>
                </a:ln>
                <a:solidFill>
                  <a:srgbClr val="401161"/>
                </a:solidFill>
                <a:effectLst/>
                <a:uLnTx/>
                <a:uFillTx/>
                <a:latin typeface="Lexend SemiBold" pitchFamily="2" charset="0"/>
                <a:ea typeface="+mn-ea"/>
                <a:cs typeface="Sora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r-FR" sz="800" b="0" i="0" u="none" strike="noStrike" kern="1200" cap="all" spc="0" normalizeH="0" baseline="0" noProof="0" dirty="0">
              <a:ln>
                <a:noFill/>
              </a:ln>
              <a:solidFill>
                <a:srgbClr val="401161"/>
              </a:solidFill>
              <a:effectLst/>
              <a:uLnTx/>
              <a:uFillTx/>
              <a:latin typeface="Lexend SemiBold" pitchFamily="2" charset="0"/>
              <a:ea typeface="+mn-ea"/>
              <a:cs typeface="Sora" pitchFamily="2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A93D312-F548-9F63-6DEC-647BBE78D62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07" y="405000"/>
            <a:ext cx="7821812" cy="6085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624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8B62-CE57-4AC7-F788-181349342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078E6AB0-5A4F-E13E-39BB-38F38731A9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652787C-6309-F39F-E443-D917BFE11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vestisseur</a:t>
            </a:r>
            <a:br>
              <a:rPr lang="fr-FR" dirty="0"/>
            </a:br>
            <a:r>
              <a:rPr lang="fr-FR" dirty="0"/>
              <a:t>Groupama Immobilier</a:t>
            </a:r>
          </a:p>
        </p:txBody>
      </p:sp>
    </p:spTree>
    <p:extLst>
      <p:ext uri="{BB962C8B-B14F-4D97-AF65-F5344CB8AC3E}">
        <p14:creationId xmlns:p14="http://schemas.microsoft.com/office/powerpoint/2010/main" val="34008313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62A7BA-4673-C782-2B06-9147C02F2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>
            <a:extLst>
              <a:ext uri="{FF2B5EF4-FFF2-40B4-BE49-F238E27FC236}">
                <a16:creationId xmlns:a16="http://schemas.microsoft.com/office/drawing/2014/main" id="{9A5CC8F3-6C7A-B8CA-D72D-7C24E5D2CCF9}"/>
              </a:ext>
            </a:extLst>
          </p:cNvPr>
          <p:cNvSpPr txBox="1">
            <a:spLocks/>
          </p:cNvSpPr>
          <p:nvPr/>
        </p:nvSpPr>
        <p:spPr>
          <a:xfrm>
            <a:off x="7635842" y="437588"/>
            <a:ext cx="4380898" cy="446969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67500" lnSpcReduction="20000"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5800" b="1" i="0" u="none" strike="noStrike" kern="1200" cap="none" spc="0" normalizeH="0" baseline="0" noProof="0" dirty="0">
                <a:ln>
                  <a:noFill/>
                </a:ln>
                <a:solidFill>
                  <a:srgbClr val="95C11F"/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SQUARE LOUIS JOUVET OPERA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5800" b="1" i="0" u="none" strike="noStrike" kern="1200" cap="none" spc="0" normalizeH="0" baseline="0" noProof="0" dirty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Groupam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5800" b="1" i="0" u="none" strike="noStrike" kern="1200" cap="none" spc="0" normalizeH="0" baseline="0" noProof="0" dirty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Immobili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30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Paris 9</a:t>
            </a:r>
            <a:r>
              <a:rPr kumimoji="0" lang="fr-FR" sz="3000" b="0" i="0" u="none" strike="noStrike" kern="1200" cap="none" spc="0" normalizeH="0" baseline="30000" noProof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ème</a:t>
            </a:r>
            <a:r>
              <a:rPr kumimoji="0" lang="fr-FR" sz="30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 </a:t>
            </a:r>
            <a:endParaRPr kumimoji="0" lang="fr-FR" sz="3000" b="0" i="0" u="none" strike="noStrike" kern="1200" cap="none" spc="0" normalizeH="0" baseline="0" noProof="0" dirty="0">
              <a:ln>
                <a:noFill/>
              </a:ln>
              <a:solidFill>
                <a:srgbClr val="E8E8E8">
                  <a:lumMod val="10000"/>
                </a:srgbClr>
              </a:solidFill>
              <a:effectLst/>
              <a:uLnTx/>
              <a:uFillTx/>
              <a:latin typeface="Montserrat" panose="02000505000000020004" pitchFamily="2" charset="0"/>
              <a:ea typeface="+mj-ea"/>
              <a:cs typeface="+mj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endParaRPr kumimoji="0" lang="fr-FR" sz="4000" b="1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Montserrat" panose="02000505000000020004" pitchFamily="2" charset="0"/>
              <a:ea typeface="+mj-ea"/>
              <a:cs typeface="+mj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endParaRPr kumimoji="0" lang="fr-FR" sz="4700" b="1" i="0" u="none" strike="noStrike" kern="1200" cap="none" spc="0" normalizeH="0" baseline="0" noProof="0" dirty="0">
              <a:ln>
                <a:noFill/>
              </a:ln>
              <a:solidFill>
                <a:srgbClr val="95C11F"/>
              </a:solidFill>
              <a:effectLst/>
              <a:uLnTx/>
              <a:uFillTx/>
              <a:latin typeface="Montserrat" panose="02000505000000020004" pitchFamily="2" charset="0"/>
              <a:ea typeface="+mj-ea"/>
              <a:cs typeface="+mj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4700" b="1" i="0" u="none" strike="noStrike" kern="1200" cap="none" spc="0" normalizeH="0" baseline="0" noProof="0" dirty="0">
                <a:ln>
                  <a:noFill/>
                </a:ln>
                <a:solidFill>
                  <a:srgbClr val="95C11F"/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Exploitation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3000" b="1" i="0" u="none" strike="noStrike" kern="1200" cap="none" spc="0" normalizeH="0" baseline="0" noProof="0" dirty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Label BBCA Performa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r>
              <a:rPr kumimoji="0" lang="fr-FR" sz="3000" b="0" i="0" u="none" strike="noStrike" kern="1200" cap="none" spc="0" normalizeH="0" baseline="0" noProof="0" dirty="0">
                <a:ln>
                  <a:noFill/>
                </a:ln>
                <a:solidFill>
                  <a:srgbClr val="E8E8E8">
                    <a:lumMod val="10000"/>
                  </a:srgbClr>
                </a:solidFill>
                <a:effectLst/>
                <a:uLnTx/>
                <a:uFillTx/>
                <a:latin typeface="Montserrat" panose="02000505000000020004" pitchFamily="2" charset="0"/>
                <a:ea typeface="+mj-ea"/>
                <a:cs typeface="+mj-cs"/>
              </a:rPr>
              <a:t>2 631 m²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2800"/>
              <a:buFontTx/>
              <a:buNone/>
              <a:tabLst/>
              <a:defRPr/>
            </a:pPr>
            <a:endParaRPr kumimoji="0" lang="fr-FR" sz="4700" b="1" i="0" u="none" strike="noStrike" kern="1200" cap="none" spc="0" normalizeH="0" baseline="0" noProof="0" dirty="0">
              <a:ln>
                <a:noFill/>
              </a:ln>
              <a:solidFill>
                <a:srgbClr val="95C11F"/>
              </a:solidFill>
              <a:effectLst/>
              <a:uLnTx/>
              <a:uFillTx/>
              <a:latin typeface="Montserrat" panose="02000505000000020004" pitchFamily="2" charset="0"/>
              <a:ea typeface="+mj-ea"/>
              <a:cs typeface="+mj-cs"/>
            </a:endParaRPr>
          </a:p>
        </p:txBody>
      </p:sp>
      <p:pic>
        <p:nvPicPr>
          <p:cNvPr id="4" name="Image 3" descr="Une image contenant nuage, ciel, plein air, bâtiment&#10;&#10;Le contenu généré par l’IA peut être incorrect.">
            <a:extLst>
              <a:ext uri="{FF2B5EF4-FFF2-40B4-BE49-F238E27FC236}">
                <a16:creationId xmlns:a16="http://schemas.microsoft.com/office/drawing/2014/main" id="{0A2F7E20-05A7-C1A3-9F8E-4A54A5AFEE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62000" y="-7620"/>
            <a:ext cx="8389620" cy="6858000"/>
          </a:xfrm>
          <a:prstGeom prst="rect">
            <a:avLst/>
          </a:prstGeom>
        </p:spPr>
      </p:pic>
      <p:pic>
        <p:nvPicPr>
          <p:cNvPr id="6" name="Image 5" descr="Une image contenant texte, logo, Police, Graphique&#10;&#10;Le contenu généré par l’IA peut être incorrect.">
            <a:extLst>
              <a:ext uri="{FF2B5EF4-FFF2-40B4-BE49-F238E27FC236}">
                <a16:creationId xmlns:a16="http://schemas.microsoft.com/office/drawing/2014/main" id="{7D2BE8C2-E89A-39A8-5329-FC4A357EE0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6592" y="4642654"/>
            <a:ext cx="2497677" cy="20484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67B66E94-9A15-F575-02BB-6C7FD6D8444D}"/>
              </a:ext>
            </a:extLst>
          </p:cNvPr>
          <p:cNvSpPr txBox="1"/>
          <p:nvPr/>
        </p:nvSpPr>
        <p:spPr>
          <a:xfrm>
            <a:off x="199635" y="141902"/>
            <a:ext cx="29140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errot &amp; Richard Architectes</a:t>
            </a:r>
          </a:p>
        </p:txBody>
      </p:sp>
    </p:spTree>
    <p:extLst>
      <p:ext uri="{BB962C8B-B14F-4D97-AF65-F5344CB8AC3E}">
        <p14:creationId xmlns:p14="http://schemas.microsoft.com/office/powerpoint/2010/main" val="269594704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73194-6A64-5A75-3D9B-09FD5BEC2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27091A2E-21AD-D598-3BA5-8CEDB37560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2525145-2D79-0F14-4EC0-7DDC9C87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estions</a:t>
            </a:r>
            <a:br>
              <a:rPr lang="fr-FR" dirty="0"/>
            </a:br>
            <a:r>
              <a:rPr lang="fr-FR" dirty="0"/>
              <a:t>Réponses</a:t>
            </a:r>
          </a:p>
        </p:txBody>
      </p:sp>
    </p:spTree>
    <p:extLst>
      <p:ext uri="{BB962C8B-B14F-4D97-AF65-F5344CB8AC3E}">
        <p14:creationId xmlns:p14="http://schemas.microsoft.com/office/powerpoint/2010/main" val="23454725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500A1956-DB81-E429-62ED-0CF8FF75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5178"/>
            <a:ext cx="10432496" cy="1237793"/>
          </a:xfrm>
        </p:spPr>
        <p:txBody>
          <a:bodyPr/>
          <a:lstStyle/>
          <a:p>
            <a:r>
              <a:rPr lang="fr-FR" i="1" dirty="0"/>
              <a:t>Malgré la crise, ils ont choisi le bas carbone. </a:t>
            </a:r>
            <a:endParaRPr lang="fr-FR" dirty="0">
              <a:latin typeface="Helvetica Neue Condensed" panose="02000503000000020004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CE9BD10-A4F8-D684-A2A4-7B60C77920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2164385"/>
            <a:ext cx="6793367" cy="725685"/>
          </a:xfrm>
        </p:spPr>
        <p:txBody>
          <a:bodyPr/>
          <a:lstStyle/>
          <a:p>
            <a:r>
              <a:rPr lang="fr-FR" sz="2000" i="1" dirty="0"/>
              <a:t>Merci pour votre présence et votre attention.</a:t>
            </a:r>
            <a:r>
              <a:rPr lang="fr-FR" dirty="0"/>
              <a:t> </a:t>
            </a:r>
            <a:br>
              <a:rPr lang="fr-FR" dirty="0"/>
            </a:br>
            <a:endParaRPr lang="fr-FR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F3C59AF-5BAB-95A3-F1F6-5753073A2282}"/>
              </a:ext>
            </a:extLst>
          </p:cNvPr>
          <p:cNvSpPr txBox="1"/>
          <p:nvPr/>
        </p:nvSpPr>
        <p:spPr>
          <a:xfrm>
            <a:off x="429083" y="3183466"/>
            <a:ext cx="6266328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  <a:t>Contact</a:t>
            </a:r>
            <a:b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fr-FR" sz="1300" b="1" dirty="0">
                <a:solidFill>
                  <a:schemeClr val="bg1"/>
                </a:solidFill>
                <a:latin typeface="Helvetica Neue" panose="02000503000000020004"/>
              </a:rPr>
              <a:t>Hélène Genin</a:t>
            </a:r>
            <a: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  <a:t>, Déléguée générale</a:t>
            </a:r>
            <a:b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  <a:t>06 17 92 62 65</a:t>
            </a:r>
            <a:b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  <a:t>helene.genin@batimentbascarbone.org</a:t>
            </a:r>
            <a:b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fr-FR" sz="1300" dirty="0">
                <a:solidFill>
                  <a:schemeClr val="bg1"/>
                </a:solidFill>
                <a:latin typeface="Helvetica Neue" panose="02000503000000020004"/>
              </a:rPr>
              <a:t>www.batimentbascarbone.org I </a:t>
            </a:r>
            <a:r>
              <a:rPr lang="fr-FR" sz="1300" dirty="0" err="1">
                <a:solidFill>
                  <a:schemeClr val="bg1"/>
                </a:solidFill>
                <a:latin typeface="Helvetica Neue" panose="02000503000000020004"/>
              </a:rPr>
              <a:t>linkedin</a:t>
            </a:r>
            <a:endParaRPr lang="fr-FR" sz="1300" dirty="0">
              <a:solidFill>
                <a:schemeClr val="bg1"/>
              </a:solidFill>
              <a:latin typeface="Helvetica Neue" panose="020005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41285912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A2CFD-D853-DACC-0FBD-91B893F19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383D3F6D-0B8F-BCC9-E134-E848E30484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i="1" dirty="0"/>
              <a:t>Malgré la crise, ils ont choisi le bas carbone. 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5DF853-6996-E89C-AD2A-02BD33244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pères </a:t>
            </a:r>
            <a:br>
              <a:rPr lang="fr-FR" dirty="0"/>
            </a:br>
            <a:r>
              <a:rPr lang="fr-FR" dirty="0"/>
              <a:t>et chiffres clefs BBCA </a:t>
            </a:r>
          </a:p>
        </p:txBody>
      </p:sp>
    </p:spTree>
    <p:extLst>
      <p:ext uri="{BB962C8B-B14F-4D97-AF65-F5344CB8AC3E}">
        <p14:creationId xmlns:p14="http://schemas.microsoft.com/office/powerpoint/2010/main" val="4935029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E5BDE5-8C93-0A39-158B-DE33DF7896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Repères et chiffres clef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BAB86ED-AB93-02DD-E331-821A8A73ECA9}"/>
              </a:ext>
            </a:extLst>
          </p:cNvPr>
          <p:cNvSpPr>
            <a:spLocks noGrp="1"/>
          </p:cNvSpPr>
          <p:nvPr>
            <p:ph sz="quarter" idx="43"/>
          </p:nvPr>
        </p:nvSpPr>
        <p:spPr/>
        <p:txBody>
          <a:bodyPr/>
          <a:lstStyle/>
          <a:p>
            <a:r>
              <a:rPr lang="fr-FR" dirty="0"/>
              <a:t>Plus de 160</a:t>
            </a:r>
          </a:p>
          <a:p>
            <a:r>
              <a:rPr lang="fr-FR" dirty="0"/>
              <a:t>membres</a:t>
            </a:r>
          </a:p>
          <a:p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FD2E38F-1975-8B9F-5406-C151A609EA4A}"/>
              </a:ext>
            </a:extLst>
          </p:cNvPr>
          <p:cNvSpPr>
            <a:spLocks noGrp="1"/>
          </p:cNvSpPr>
          <p:nvPr>
            <p:ph sz="quarter" idx="47"/>
          </p:nvPr>
        </p:nvSpPr>
        <p:spPr/>
        <p:txBody>
          <a:bodyPr/>
          <a:lstStyle/>
          <a:p>
            <a:r>
              <a:rPr lang="fr-FR" dirty="0">
                <a:solidFill>
                  <a:schemeClr val="accent1"/>
                </a:solidFill>
              </a:rPr>
              <a:t>1,8 millions m</a:t>
            </a:r>
            <a:r>
              <a:rPr lang="fr-FR" baseline="30000" dirty="0">
                <a:solidFill>
                  <a:schemeClr val="accent1"/>
                </a:solidFill>
              </a:rPr>
              <a:t>2</a:t>
            </a:r>
          </a:p>
          <a:p>
            <a:r>
              <a:rPr lang="fr-FR" dirty="0">
                <a:solidFill>
                  <a:schemeClr val="accent1"/>
                </a:solidFill>
              </a:rPr>
              <a:t>bas carbone déjà livré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0FD078A2-9DE5-630E-DEBF-1801181FE686}"/>
              </a:ext>
            </a:extLst>
          </p:cNvPr>
          <p:cNvSpPr>
            <a:spLocks noGrp="1"/>
          </p:cNvSpPr>
          <p:nvPr>
            <p:ph sz="quarter" idx="48"/>
          </p:nvPr>
        </p:nvSpPr>
        <p:spPr/>
        <p:txBody>
          <a:bodyPr/>
          <a:lstStyle/>
          <a:p>
            <a:r>
              <a:rPr lang="fr-FR" dirty="0">
                <a:solidFill>
                  <a:schemeClr val="accent2"/>
                </a:solidFill>
              </a:rPr>
              <a:t>A suivre</a:t>
            </a:r>
          </a:p>
          <a:p>
            <a:r>
              <a:rPr lang="fr-FR" dirty="0">
                <a:solidFill>
                  <a:schemeClr val="accent2"/>
                </a:solidFill>
              </a:rPr>
              <a:t>En 2026</a:t>
            </a:r>
          </a:p>
          <a:p>
            <a:endParaRPr lang="fr-FR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9ADAFFA-68CA-FE0B-538D-84B82CA1B9B5}"/>
              </a:ext>
            </a:extLst>
          </p:cNvPr>
          <p:cNvSpPr>
            <a:spLocks noGrp="1"/>
          </p:cNvSpPr>
          <p:nvPr>
            <p:ph sz="quarter" idx="49"/>
          </p:nvPr>
        </p:nvSpPr>
        <p:spPr/>
        <p:txBody>
          <a:bodyPr/>
          <a:lstStyle/>
          <a:p>
            <a:r>
              <a:rPr lang="fr-FR" dirty="0">
                <a:solidFill>
                  <a:schemeClr val="accent4"/>
                </a:solidFill>
              </a:rPr>
              <a:t>Le Sibca</a:t>
            </a:r>
          </a:p>
          <a:p>
            <a:r>
              <a:rPr lang="fr-FR" dirty="0">
                <a:solidFill>
                  <a:schemeClr val="accent4"/>
                </a:solidFill>
              </a:rPr>
              <a:t>202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589284B-3CFA-B9E4-CB82-86E185CD839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67116" y="1169851"/>
            <a:ext cx="2613026" cy="32471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F9FB2F4-01C8-3C08-432B-13E2EBBA55E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6381681-318F-F34D-BC07-1902CF377D87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8FD9A21C-D992-DC4A-C775-8A70896DE88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PETIT-DEJEUNER PRESSE 16/04</a:t>
            </a:r>
          </a:p>
          <a:p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9A8C664-7002-E47C-6C8C-565DD916A12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r-FR" dirty="0"/>
              <a:t>10 ans d’action pour le Climat.</a:t>
            </a:r>
          </a:p>
          <a:p>
            <a:r>
              <a:rPr lang="fr-FR" dirty="0"/>
              <a:t>Reconnue d’intérêt général pour son action sur l’environnement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921DFAD-775B-119F-2187-7EF35A2DA22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sz="1200" b="1" dirty="0"/>
              <a:t>En progression (+25%)</a:t>
            </a:r>
          </a:p>
          <a:p>
            <a:endParaRPr lang="fr-FR" sz="1200" b="1" dirty="0"/>
          </a:p>
          <a:p>
            <a:r>
              <a:rPr lang="fr-FR" sz="1200" b="1" dirty="0"/>
              <a:t>Acteurs majeurs de l’immobilier bas carbone </a:t>
            </a:r>
            <a:r>
              <a:rPr lang="fr-FR" sz="1200" dirty="0"/>
              <a:t>(promoteurs, utilisateurs, investisseurs, aménageurs, collectivités, architectes, constructeurs, bureaux d’études).</a:t>
            </a:r>
          </a:p>
          <a:p>
            <a:r>
              <a:rPr lang="fr-FR" sz="1200" dirty="0"/>
              <a:t>Deux tiers du Top 20 des Promoteurs immobiliers.</a:t>
            </a:r>
          </a:p>
          <a:p>
            <a:r>
              <a:rPr lang="fr-FR" sz="1200" dirty="0"/>
              <a:t>Des Industriels depuis 2026.</a:t>
            </a:r>
          </a:p>
          <a:p>
            <a:endParaRPr lang="fr-FR" sz="1200" dirty="0"/>
          </a:p>
          <a:p>
            <a:r>
              <a:rPr lang="fr-FR" sz="1200" b="1" dirty="0"/>
              <a:t>Jean JOUZEL</a:t>
            </a:r>
            <a:r>
              <a:rPr lang="fr-FR" sz="1200" dirty="0"/>
              <a:t>, membre d’honneur.</a:t>
            </a:r>
          </a:p>
          <a:p>
            <a:pPr lvl="0"/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0D26D2A-F38F-8406-5CB7-96833DC6784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Autofit/>
          </a:bodyPr>
          <a:lstStyle/>
          <a:p>
            <a:pPr lvl="0"/>
            <a:r>
              <a:rPr lang="fr-FR" sz="1200" dirty="0"/>
              <a:t>1,8 millions m</a:t>
            </a:r>
            <a:r>
              <a:rPr lang="fr-FR" sz="1200" baseline="30000" dirty="0"/>
              <a:t>2</a:t>
            </a:r>
          </a:p>
          <a:p>
            <a:pPr lvl="0"/>
            <a:r>
              <a:rPr lang="fr-FR" sz="1200" dirty="0"/>
              <a:t>bas carbone déjà livrés (242 opérations)</a:t>
            </a:r>
          </a:p>
          <a:p>
            <a:pPr lvl="0"/>
            <a:r>
              <a:rPr lang="fr-FR" sz="1200" b="1" dirty="0"/>
              <a:t>Plus de 4 millions m</a:t>
            </a:r>
            <a:r>
              <a:rPr lang="fr-FR" sz="1200" b="1" baseline="30000" dirty="0"/>
              <a:t>2</a:t>
            </a:r>
            <a:r>
              <a:rPr lang="fr-FR" sz="1200" b="1" dirty="0"/>
              <a:t> en préparation en France et en Europe </a:t>
            </a:r>
            <a:r>
              <a:rPr lang="fr-FR" sz="1200" dirty="0"/>
              <a:t>(417 opérations)</a:t>
            </a:r>
          </a:p>
          <a:p>
            <a:pPr lvl="0"/>
            <a:r>
              <a:rPr lang="fr-FR" sz="1200" b="1" dirty="0"/>
              <a:t>1,9 millions m</a:t>
            </a:r>
            <a:r>
              <a:rPr lang="fr-FR" sz="1200" b="1" baseline="30000" dirty="0"/>
              <a:t>2</a:t>
            </a:r>
            <a:r>
              <a:rPr lang="fr-FR" sz="1200" b="1" dirty="0"/>
              <a:t> en rénovation </a:t>
            </a:r>
          </a:p>
          <a:p>
            <a:pPr lvl="0"/>
            <a:r>
              <a:rPr lang="fr-FR" sz="1200" dirty="0"/>
              <a:t>3,6 millions m</a:t>
            </a:r>
            <a:r>
              <a:rPr lang="fr-FR" sz="1200" baseline="30000" dirty="0"/>
              <a:t>2 </a:t>
            </a:r>
            <a:r>
              <a:rPr lang="fr-FR" sz="1200" dirty="0"/>
              <a:t>labellisés en conception ou réalisation (417 opérations)</a:t>
            </a:r>
          </a:p>
          <a:p>
            <a:pPr lvl="0"/>
            <a:r>
              <a:rPr lang="fr-FR" sz="1200" dirty="0"/>
              <a:t>Pour la France (BBCA) et l’Europe (LCBI)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7E1D2A0D-99CF-8522-BBBF-534B11C6A75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6229499" y="2624838"/>
            <a:ext cx="2612832" cy="3683891"/>
          </a:xfrm>
        </p:spPr>
        <p:txBody>
          <a:bodyPr>
            <a:normAutofit/>
          </a:bodyPr>
          <a:lstStyle/>
          <a:p>
            <a:pPr lvl="0"/>
            <a:r>
              <a:rPr lang="fr-FR" sz="1200" dirty="0"/>
              <a:t>Les premiers projets de </a:t>
            </a:r>
            <a:r>
              <a:rPr lang="fr-FR" sz="1200" b="1" dirty="0"/>
              <a:t>centres commerciaux bas carbone </a:t>
            </a:r>
            <a:r>
              <a:rPr lang="fr-FR" sz="1200" dirty="0"/>
              <a:t>en France</a:t>
            </a:r>
          </a:p>
          <a:p>
            <a:pPr lvl="0"/>
            <a:endParaRPr lang="fr-FR" sz="1200" dirty="0"/>
          </a:p>
          <a:p>
            <a:pPr lvl="0"/>
            <a:r>
              <a:rPr lang="fr-FR" sz="1200" b="1" dirty="0"/>
              <a:t>Nouveau label combinant le Neuf, la Rénovation et les opérations mixtes pour la France et l’Europe</a:t>
            </a:r>
          </a:p>
          <a:p>
            <a:pPr lvl="0"/>
            <a:endParaRPr lang="fr-FR" sz="1200" dirty="0"/>
          </a:p>
          <a:p>
            <a:pPr lvl="0"/>
            <a:r>
              <a:rPr lang="fr-FR" sz="1200" dirty="0"/>
              <a:t>Le label </a:t>
            </a:r>
            <a:r>
              <a:rPr lang="fr-FR" sz="1200" b="1" dirty="0"/>
              <a:t>LCBI Logistique Neuf </a:t>
            </a:r>
            <a:r>
              <a:rPr lang="fr-FR" sz="1200" dirty="0"/>
              <a:t>pour la France et l’Europe</a:t>
            </a:r>
          </a:p>
          <a:p>
            <a:pPr lvl="0"/>
            <a:endParaRPr lang="fr-FR" sz="1200" dirty="0"/>
          </a:p>
          <a:p>
            <a:pPr lvl="0"/>
            <a:r>
              <a:rPr lang="fr-FR" sz="1200" dirty="0"/>
              <a:t>Le programme de recherche </a:t>
            </a:r>
            <a:r>
              <a:rPr lang="fr-FR" sz="1200" b="1" dirty="0" err="1"/>
              <a:t>Built</a:t>
            </a:r>
            <a:r>
              <a:rPr lang="fr-FR" sz="1200" b="1" dirty="0"/>
              <a:t> by Nature France</a:t>
            </a:r>
            <a:r>
              <a:rPr lang="fr-FR" sz="1200" dirty="0"/>
              <a:t>, piloté par BBCA</a:t>
            </a:r>
          </a:p>
          <a:p>
            <a:pPr lvl="0"/>
            <a:endParaRPr lang="fr-FR" sz="1200" dirty="0"/>
          </a:p>
          <a:p>
            <a:r>
              <a:rPr lang="fr-FR" sz="1200" b="1" dirty="0"/>
              <a:t>Le Palmarès des Maîtres d’ouvrage et les Grands Prix BBCA 2026 </a:t>
            </a:r>
          </a:p>
          <a:p>
            <a:pPr lvl="0"/>
            <a:endParaRPr lang="fr-FR" sz="1200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7D710F22-D649-3C8C-F5ED-2A0FC5C1EDDA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b="1" dirty="0"/>
              <a:t>Le Sibca 2026 </a:t>
            </a:r>
            <a:r>
              <a:rPr lang="fr-FR" dirty="0"/>
              <a:t>(1 er au 3 septembre au Grand Palais à Paris. </a:t>
            </a:r>
          </a:p>
          <a:p>
            <a:r>
              <a:rPr lang="fr-FR" b="1" dirty="0"/>
              <a:t>Édition anniversaire des 5 ans ! </a:t>
            </a:r>
          </a:p>
          <a:p>
            <a:endParaRPr lang="fr-FR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14FBE8-7358-60AF-F2AB-978B3C17C36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025316" y="3843186"/>
            <a:ext cx="2743200" cy="1216419"/>
          </a:xfrm>
          <a:prstGeom prst="rect">
            <a:avLst/>
          </a:prstGeom>
        </p:spPr>
      </p:pic>
      <p:pic>
        <p:nvPicPr>
          <p:cNvPr id="19" name="Espace réservé pour une image  7">
            <a:extLst>
              <a:ext uri="{FF2B5EF4-FFF2-40B4-BE49-F238E27FC236}">
                <a16:creationId xmlns:a16="http://schemas.microsoft.com/office/drawing/2014/main" id="{7BBA014F-F72D-0489-3B62-798702700A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16725" y="4886477"/>
            <a:ext cx="2022434" cy="186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6349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>
            <a:extLst>
              <a:ext uri="{FF2B5EF4-FFF2-40B4-BE49-F238E27FC236}">
                <a16:creationId xmlns:a16="http://schemas.microsoft.com/office/drawing/2014/main" id="{83511A95-BC0D-12A8-0340-8E9F8CE27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8210" y="2209642"/>
            <a:ext cx="644838" cy="64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C2E5AB3-F32D-48ED-A61B-AB5311422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embres BBCA 2026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FDC0D2B-ABA9-1F7B-E846-51FBF2F813B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66745" y="1881197"/>
            <a:ext cx="4763669" cy="174119"/>
          </a:xfrm>
        </p:spPr>
        <p:txBody>
          <a:bodyPr>
            <a:noAutofit/>
          </a:bodyPr>
          <a:lstStyle/>
          <a:p>
            <a:r>
              <a:rPr lang="fr-FR" sz="1200" cap="all" dirty="0"/>
              <a:t>Promoteurs, bailleurs, foncières, investisseurs </a:t>
            </a:r>
            <a:r>
              <a:rPr lang="fr-FR" sz="1200" cap="all"/>
              <a:t>(5</a:t>
            </a:r>
            <a:r>
              <a:rPr lang="fr-FR" sz="1200" cap="all" dirty="0"/>
              <a:t>3</a:t>
            </a:r>
            <a:r>
              <a:rPr lang="fr-FR" sz="1200" cap="all"/>
              <a:t>)</a:t>
            </a:r>
            <a:endParaRPr lang="fr-FR" sz="1200" cap="all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1B234DB-ECDF-8C20-12FA-B6AB8978642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PETIT-DEJEUNER PRESSE 16/04</a:t>
            </a: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E796C43-99E5-D43D-F618-FA432EF372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81681-318F-F34D-BC07-1902CF377D87}" type="slidenum">
              <a:rPr kumimoji="0" lang="fr-FR" sz="1199" b="0" i="0" u="none" strike="noStrike" kern="1200" cap="none" spc="0" normalizeH="0" baseline="0" noProof="0" smtClean="0">
                <a:ln>
                  <a:noFill/>
                </a:ln>
                <a:solidFill>
                  <a:srgbClr val="A89590"/>
                </a:solidFill>
                <a:effectLst/>
                <a:uLnTx/>
                <a:uFillTx/>
                <a:latin typeface="Helvetica Neue" panose="02000503000000020004" pitchFamily="2" charset="0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199" b="0" i="0" u="none" strike="noStrike" kern="1200" cap="none" spc="0" normalizeH="0" baseline="0" noProof="0">
              <a:ln>
                <a:noFill/>
              </a:ln>
              <a:solidFill>
                <a:srgbClr val="A89590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pic>
        <p:nvPicPr>
          <p:cNvPr id="7" name="Image 6" descr="Altarea — Wikipédia">
            <a:extLst>
              <a:ext uri="{FF2B5EF4-FFF2-40B4-BE49-F238E27FC236}">
                <a16:creationId xmlns:a16="http://schemas.microsoft.com/office/drawing/2014/main" id="{8E03D334-B474-FEAB-6CD0-A842B01459E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4059" y="2187979"/>
            <a:ext cx="570552" cy="594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cteur immobilier au coeur des transformations de la ville de demain | BNP  Paribas Real Estate France">
            <a:extLst>
              <a:ext uri="{FF2B5EF4-FFF2-40B4-BE49-F238E27FC236}">
                <a16:creationId xmlns:a16="http://schemas.microsoft.com/office/drawing/2014/main" id="{03C9B6B7-8782-8398-C935-3DAD691F41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4920" y="2809812"/>
            <a:ext cx="1085449" cy="3582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Bouygues Immobilier — Wikipédia">
            <a:extLst>
              <a:ext uri="{FF2B5EF4-FFF2-40B4-BE49-F238E27FC236}">
                <a16:creationId xmlns:a16="http://schemas.microsoft.com/office/drawing/2014/main" id="{AACACB85-0D7D-673F-BA1D-94EF101C9D6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4083" y="2741326"/>
            <a:ext cx="1125571" cy="5215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Une image contenant texte, football, Police, logo&#10;&#10;Le contenu généré par l’IA peut être incorrect.">
            <a:extLst>
              <a:ext uri="{FF2B5EF4-FFF2-40B4-BE49-F238E27FC236}">
                <a16:creationId xmlns:a16="http://schemas.microsoft.com/office/drawing/2014/main" id="{AE90D311-0438-B830-7094-178DE815DB6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346" y="3193354"/>
            <a:ext cx="894470" cy="3685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Investissement Hôteliers - Covivio Hotels">
            <a:extLst>
              <a:ext uri="{FF2B5EF4-FFF2-40B4-BE49-F238E27FC236}">
                <a16:creationId xmlns:a16="http://schemas.microsoft.com/office/drawing/2014/main" id="{992601E5-2BBF-A1ED-0A7B-853E5AF617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02005" y="3197078"/>
            <a:ext cx="850495" cy="28131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Image 15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D8E877A4-1E7F-C7E6-E28B-1ED56449D2D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0168" y="3222289"/>
            <a:ext cx="550372" cy="4157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Image 17" descr="Accueil | Foncière Chênelet">
            <a:extLst>
              <a:ext uri="{FF2B5EF4-FFF2-40B4-BE49-F238E27FC236}">
                <a16:creationId xmlns:a16="http://schemas.microsoft.com/office/drawing/2014/main" id="{8CD7E84A-D203-5ECB-311A-61538BA824F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4801" y="3217143"/>
            <a:ext cx="505691" cy="402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18" descr="FREY foncière à mission et certifiée B Corp">
            <a:extLst>
              <a:ext uri="{FF2B5EF4-FFF2-40B4-BE49-F238E27FC236}">
                <a16:creationId xmlns:a16="http://schemas.microsoft.com/office/drawing/2014/main" id="{B6BDCE79-CC09-F9AD-291A-DCEFD218A5A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6848" y="3217325"/>
            <a:ext cx="653949" cy="337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19" descr="Gecina.fr">
            <a:extLst>
              <a:ext uri="{FF2B5EF4-FFF2-40B4-BE49-F238E27FC236}">
                <a16:creationId xmlns:a16="http://schemas.microsoft.com/office/drawing/2014/main" id="{72DE1A13-5E1B-BF5F-C365-AE7AE1D844E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2102" y="3754488"/>
            <a:ext cx="897601" cy="281311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5FAAF747-DA53-4211-5BFD-D11D1077CC6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1336" y="3824209"/>
            <a:ext cx="799543" cy="215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 descr="Notre histoire – PariSeine">
            <a:extLst>
              <a:ext uri="{FF2B5EF4-FFF2-40B4-BE49-F238E27FC236}">
                <a16:creationId xmlns:a16="http://schemas.microsoft.com/office/drawing/2014/main" id="{BF56C13E-ABD6-FD2E-00F1-2E0842DECC4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674" b="23297"/>
          <a:stretch/>
        </p:blipFill>
        <p:spPr>
          <a:xfrm>
            <a:off x="1462344" y="5210136"/>
            <a:ext cx="957946" cy="332219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8D3FA53E-326F-97D3-EF01-6BEEADF4F6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247" y="3768870"/>
            <a:ext cx="905548" cy="288736"/>
          </a:xfrm>
          <a:prstGeom prst="rect">
            <a:avLst/>
          </a:prstGeom>
        </p:spPr>
      </p:pic>
      <p:pic>
        <p:nvPicPr>
          <p:cNvPr id="24" name="Picture 2" descr="Icade dévoile sa nouvelle identité : une grande marque de l'immobilier au  service de ses clients | Icade">
            <a:extLst>
              <a:ext uri="{FF2B5EF4-FFF2-40B4-BE49-F238E27FC236}">
                <a16:creationId xmlns:a16="http://schemas.microsoft.com/office/drawing/2014/main" id="{C309530C-6BF3-17FF-C879-A8AC5F68B0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31101" y="3638382"/>
            <a:ext cx="985755" cy="427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Image 24" descr="ICAMAP | Home">
            <a:extLst>
              <a:ext uri="{FF2B5EF4-FFF2-40B4-BE49-F238E27FC236}">
                <a16:creationId xmlns:a16="http://schemas.microsoft.com/office/drawing/2014/main" id="{234B51DD-6DC1-0F9B-A190-A2327D8440D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9621" y="3751521"/>
            <a:ext cx="872345" cy="2299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5" descr="A logo with a bird and a house&#10;&#10;Description automatically generated">
            <a:extLst>
              <a:ext uri="{FF2B5EF4-FFF2-40B4-BE49-F238E27FC236}">
                <a16:creationId xmlns:a16="http://schemas.microsoft.com/office/drawing/2014/main" id="{17C14E4E-48B5-2338-E289-95175A0FF216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9319" y="4185807"/>
            <a:ext cx="799543" cy="377161"/>
          </a:xfrm>
          <a:prstGeom prst="rect">
            <a:avLst/>
          </a:prstGeom>
        </p:spPr>
      </p:pic>
      <p:pic>
        <p:nvPicPr>
          <p:cNvPr id="14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A85DD37B-933B-53A2-A454-F62D8F9D0BF2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391"/>
          <a:stretch/>
        </p:blipFill>
        <p:spPr>
          <a:xfrm>
            <a:off x="3066491" y="4129983"/>
            <a:ext cx="732117" cy="455687"/>
          </a:xfrm>
          <a:prstGeom prst="rect">
            <a:avLst/>
          </a:prstGeom>
        </p:spPr>
      </p:pic>
      <p:pic>
        <p:nvPicPr>
          <p:cNvPr id="15" name="Image 14" descr="Linkcity : la nouvelle marque des filiales de développement immobilier de  Bouygues Construction | Bouygues Construction">
            <a:extLst>
              <a:ext uri="{FF2B5EF4-FFF2-40B4-BE49-F238E27FC236}">
                <a16:creationId xmlns:a16="http://schemas.microsoft.com/office/drawing/2014/main" id="{48F7CB73-CE7B-0A12-8BD6-464582A85AD4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7130" y="4222184"/>
            <a:ext cx="879035" cy="319620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1" descr="A logo of a company&#10;&#10;Description automatically generated">
            <a:extLst>
              <a:ext uri="{FF2B5EF4-FFF2-40B4-BE49-F238E27FC236}">
                <a16:creationId xmlns:a16="http://schemas.microsoft.com/office/drawing/2014/main" id="{45C4FA0C-3C48-91E7-3CCC-5D7A36339E46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026" y="5591304"/>
            <a:ext cx="749053" cy="498305"/>
          </a:xfrm>
          <a:prstGeom prst="rect">
            <a:avLst/>
          </a:prstGeom>
        </p:spPr>
      </p:pic>
      <p:pic>
        <p:nvPicPr>
          <p:cNvPr id="29" name="Image 28" descr="Unibail-Rodamco-Westfield — Wikipédia">
            <a:extLst>
              <a:ext uri="{FF2B5EF4-FFF2-40B4-BE49-F238E27FC236}">
                <a16:creationId xmlns:a16="http://schemas.microsoft.com/office/drawing/2014/main" id="{326FDB18-6EFB-1233-A056-39B3695C2879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5206" y="6096951"/>
            <a:ext cx="967409" cy="522657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Image 29" descr="WO2 | LinkedIn">
            <a:extLst>
              <a:ext uri="{FF2B5EF4-FFF2-40B4-BE49-F238E27FC236}">
                <a16:creationId xmlns:a16="http://schemas.microsoft.com/office/drawing/2014/main" id="{707CD843-36E0-9806-27BF-A0E4874B36B5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7644" y="6140900"/>
            <a:ext cx="494881" cy="46995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Image 31" descr="Espaces Ferroviaires métamorphose la ville">
            <a:extLst>
              <a:ext uri="{FF2B5EF4-FFF2-40B4-BE49-F238E27FC236}">
                <a16:creationId xmlns:a16="http://schemas.microsoft.com/office/drawing/2014/main" id="{7EE685F8-7FE5-86BA-16C2-B8146EA8ED32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6501" y="5706101"/>
            <a:ext cx="1752388" cy="332219"/>
          </a:xfrm>
          <a:prstGeom prst="rect">
            <a:avLst/>
          </a:prstGeom>
        </p:spPr>
      </p:pic>
      <p:pic>
        <p:nvPicPr>
          <p:cNvPr id="33" name="Image 32" descr="Une image contenant texte, Police, Graphique, graphisme&#10;&#10;Le contenu généré par l’IA peut être incorrect.">
            <a:extLst>
              <a:ext uri="{FF2B5EF4-FFF2-40B4-BE49-F238E27FC236}">
                <a16:creationId xmlns:a16="http://schemas.microsoft.com/office/drawing/2014/main" id="{3F4C552E-53F9-609A-9482-4C627ED5C78C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885" y="5159222"/>
            <a:ext cx="1008304" cy="423101"/>
          </a:xfrm>
          <a:prstGeom prst="rect">
            <a:avLst/>
          </a:prstGeom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B55E9914-1A46-D8BF-C6DA-85E3A1A24A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707" y="2236965"/>
            <a:ext cx="795499" cy="583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B25C40B-716D-0793-FAED-BFD6A3B07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131" y="6149860"/>
            <a:ext cx="558650" cy="416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44E44D7-20FD-F1EC-E623-C326851D3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3978" y="4125386"/>
            <a:ext cx="460284" cy="460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0A1836A7-6022-3593-65F8-10041C7040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9187" y="2294042"/>
            <a:ext cx="456304" cy="45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D7E3A755-6147-E5B2-99A1-5D9FF9422F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130" y="2304320"/>
            <a:ext cx="763366" cy="416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5D29DDFC-3FB1-CE9E-4D89-F5A3DF1A0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920" y="3796948"/>
            <a:ext cx="512437" cy="25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FC0B8540-CFB9-10A6-7A18-1C8F00BB6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7021" y="4646527"/>
            <a:ext cx="431270" cy="43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Espace réservé du texte 3">
            <a:extLst>
              <a:ext uri="{FF2B5EF4-FFF2-40B4-BE49-F238E27FC236}">
                <a16:creationId xmlns:a16="http://schemas.microsoft.com/office/drawing/2014/main" id="{D33E71AC-93FA-23EE-0020-349F1187FB56}"/>
              </a:ext>
            </a:extLst>
          </p:cNvPr>
          <p:cNvSpPr txBox="1">
            <a:spLocks/>
          </p:cNvSpPr>
          <p:nvPr/>
        </p:nvSpPr>
        <p:spPr>
          <a:xfrm>
            <a:off x="6213785" y="1881197"/>
            <a:ext cx="2613026" cy="181375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12600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AMENAGEURS ETCOLLECTIVITES (6)</a:t>
            </a:r>
          </a:p>
        </p:txBody>
      </p:sp>
      <p:pic>
        <p:nvPicPr>
          <p:cNvPr id="49" name="Image 35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5C5A5359-6757-ED8D-F567-89048E2817FB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4868" y="2348378"/>
            <a:ext cx="1951540" cy="450739"/>
          </a:xfrm>
          <a:prstGeom prst="rect">
            <a:avLst/>
          </a:prstGeom>
        </p:spPr>
      </p:pic>
      <p:pic>
        <p:nvPicPr>
          <p:cNvPr id="50" name="Image 37" descr="Une image contenant texte, Police, rouge, Graphique&#10;&#10;Le contenu généré par l’IA peut être incorrect.">
            <a:extLst>
              <a:ext uri="{FF2B5EF4-FFF2-40B4-BE49-F238E27FC236}">
                <a16:creationId xmlns:a16="http://schemas.microsoft.com/office/drawing/2014/main" id="{A6F2E707-51E6-9BF7-34AF-8FB687CA9BFC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7881" y="2852738"/>
            <a:ext cx="402879" cy="450739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Image 38" descr="Une image contenant Police, Graphique, capture d’écran, graphisme&#10;&#10;Le contenu généré par l’IA peut être incorrect.">
            <a:extLst>
              <a:ext uri="{FF2B5EF4-FFF2-40B4-BE49-F238E27FC236}">
                <a16:creationId xmlns:a16="http://schemas.microsoft.com/office/drawing/2014/main" id="{4CA0248E-02C4-7D5D-A08A-78CFE207A354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90385" y="2883577"/>
            <a:ext cx="809129" cy="437473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id="{9549F525-3B58-7851-9567-3297EDB21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944" y="2410302"/>
            <a:ext cx="2025294" cy="334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SEMAPA - Société d'étude, de maîtrise d'ouvrage et d'aménagement parisienne">
            <a:extLst>
              <a:ext uri="{FF2B5EF4-FFF2-40B4-BE49-F238E27FC236}">
                <a16:creationId xmlns:a16="http://schemas.microsoft.com/office/drawing/2014/main" id="{BE60221C-D06D-4288-963A-E8DAAC08D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1793" y="2892768"/>
            <a:ext cx="1236383" cy="460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ccueil | Paris &amp; Métropole Aménagement">
            <a:extLst>
              <a:ext uri="{FF2B5EF4-FFF2-40B4-BE49-F238E27FC236}">
                <a16:creationId xmlns:a16="http://schemas.microsoft.com/office/drawing/2014/main" id="{FA064679-1BCE-AD18-39D5-5C946413B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3705" y="2965110"/>
            <a:ext cx="1143897" cy="310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Le Toit Vosgien">
            <a:extLst>
              <a:ext uri="{FF2B5EF4-FFF2-40B4-BE49-F238E27FC236}">
                <a16:creationId xmlns:a16="http://schemas.microsoft.com/office/drawing/2014/main" id="{9ED00EF5-6FB8-30DA-79ED-A65214360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704" y="4683239"/>
            <a:ext cx="713048" cy="430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12">
            <a:extLst>
              <a:ext uri="{FF2B5EF4-FFF2-40B4-BE49-F238E27FC236}">
                <a16:creationId xmlns:a16="http://schemas.microsoft.com/office/drawing/2014/main" id="{9998BA81-1F06-36E2-0CD8-86A8CC06D580}"/>
              </a:ext>
            </a:extLst>
          </p:cNvPr>
          <p:cNvSpPr txBox="1">
            <a:spLocks/>
          </p:cNvSpPr>
          <p:nvPr/>
        </p:nvSpPr>
        <p:spPr>
          <a:xfrm>
            <a:off x="6203953" y="765179"/>
            <a:ext cx="5434012" cy="572971"/>
          </a:xfrm>
          <a:prstGeom prst="rect">
            <a:avLst/>
          </a:prstGeom>
        </p:spPr>
        <p:txBody>
          <a:bodyPr/>
          <a:lstStyle>
            <a:lvl1pPr marL="12599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599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95C11F"/>
                </a:solidFill>
                <a:effectLst/>
                <a:uLnTx/>
                <a:uFillTx/>
                <a:latin typeface="Helvetica Neue" panose="02000503000000020004" pitchFamily="2" charset="0"/>
              </a:rPr>
              <a:t>166 adhérents, en croissance</a:t>
            </a:r>
          </a:p>
        </p:txBody>
      </p:sp>
      <p:pic>
        <p:nvPicPr>
          <p:cNvPr id="1026" name="Picture 2" descr="Redman - Premier promoteur immobilier français certifié B Corp">
            <a:extLst>
              <a:ext uri="{FF2B5EF4-FFF2-40B4-BE49-F238E27FC236}">
                <a16:creationId xmlns:a16="http://schemas.microsoft.com/office/drawing/2014/main" id="{EA569EAB-78B9-4378-306C-7C249EFD4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7991" y="5209058"/>
            <a:ext cx="993673" cy="26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Image 36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9B8FA511-27CC-66B2-C14B-AFFDF078E59E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947" y="2815456"/>
            <a:ext cx="1204971" cy="339016"/>
          </a:xfrm>
          <a:prstGeom prst="rect">
            <a:avLst/>
          </a:prstGeom>
        </p:spPr>
      </p:pic>
      <p:pic>
        <p:nvPicPr>
          <p:cNvPr id="40" name="Graphique 39">
            <a:extLst>
              <a:ext uri="{FF2B5EF4-FFF2-40B4-BE49-F238E27FC236}">
                <a16:creationId xmlns:a16="http://schemas.microsoft.com/office/drawing/2014/main" id="{D493B714-E2C0-94CF-1162-D0D4949967E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2712612" y="2386913"/>
            <a:ext cx="765141" cy="231461"/>
          </a:xfrm>
          <a:prstGeom prst="rect">
            <a:avLst/>
          </a:prstGeom>
        </p:spPr>
      </p:pic>
      <p:pic>
        <p:nvPicPr>
          <p:cNvPr id="42" name="Image 41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1520F579-48E8-2FEB-F86F-68EFEFAC6DE2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8889" y="2850672"/>
            <a:ext cx="1204878" cy="349617"/>
          </a:xfrm>
          <a:prstGeom prst="rect">
            <a:avLst/>
          </a:prstGeom>
        </p:spPr>
      </p:pic>
      <p:pic>
        <p:nvPicPr>
          <p:cNvPr id="44" name="Image 43" descr="Une image contenant Police, logo, Graphique, texte&#10;&#10;Le contenu généré par l’IA peut être incorrect.">
            <a:extLst>
              <a:ext uri="{FF2B5EF4-FFF2-40B4-BE49-F238E27FC236}">
                <a16:creationId xmlns:a16="http://schemas.microsoft.com/office/drawing/2014/main" id="{238771A0-4392-7B6D-49E8-81AFC1777194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346" y="2695613"/>
            <a:ext cx="581391" cy="437727"/>
          </a:xfrm>
          <a:prstGeom prst="rect">
            <a:avLst/>
          </a:prstGeom>
        </p:spPr>
      </p:pic>
      <p:pic>
        <p:nvPicPr>
          <p:cNvPr id="46" name="Image 45" descr="Une image contenant capture d’écran, obscurité, Graphique&#10;&#10;Le contenu généré par l’IA peut être incorrect.">
            <a:extLst>
              <a:ext uri="{FF2B5EF4-FFF2-40B4-BE49-F238E27FC236}">
                <a16:creationId xmlns:a16="http://schemas.microsoft.com/office/drawing/2014/main" id="{75EB3EAB-D222-928B-1CBB-137FF25AD50F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6824" y="2221230"/>
            <a:ext cx="986916" cy="586851"/>
          </a:xfrm>
          <a:prstGeom prst="rect">
            <a:avLst/>
          </a:prstGeom>
        </p:spPr>
      </p:pic>
      <p:pic>
        <p:nvPicPr>
          <p:cNvPr id="53" name="Picture 8" descr="Entreprise Construction Bâtiments : Votre partenaire GROUPE IDEC">
            <a:extLst>
              <a:ext uri="{FF2B5EF4-FFF2-40B4-BE49-F238E27FC236}">
                <a16:creationId xmlns:a16="http://schemas.microsoft.com/office/drawing/2014/main" id="{1F7AF941-8A91-C9F8-1A88-4DC3FFE14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215" y="4192004"/>
            <a:ext cx="799543" cy="34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STEF, service de logistique - Thotis">
            <a:extLst>
              <a:ext uri="{FF2B5EF4-FFF2-40B4-BE49-F238E27FC236}">
                <a16:creationId xmlns:a16="http://schemas.microsoft.com/office/drawing/2014/main" id="{19B77434-0A9D-4618-3A73-4E0002FFC0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6986" y="5643179"/>
            <a:ext cx="1226725" cy="43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6" descr="Connexion">
            <a:extLst>
              <a:ext uri="{FF2B5EF4-FFF2-40B4-BE49-F238E27FC236}">
                <a16:creationId xmlns:a16="http://schemas.microsoft.com/office/drawing/2014/main" id="{60BD6B0A-4AD8-CE5D-4214-0FF5142B6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5206" y="4798382"/>
            <a:ext cx="900778" cy="281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8" descr="Mutuelle de Poitiers Assurances | Ligugé">
            <a:extLst>
              <a:ext uri="{FF2B5EF4-FFF2-40B4-BE49-F238E27FC236}">
                <a16:creationId xmlns:a16="http://schemas.microsoft.com/office/drawing/2014/main" id="{FF242AB2-1AFF-7D78-A98A-2F363F2A9A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4" t="19257" r="15597" b="16195"/>
          <a:stretch>
            <a:fillRect/>
          </a:stretch>
        </p:blipFill>
        <p:spPr bwMode="auto">
          <a:xfrm>
            <a:off x="2206533" y="4577887"/>
            <a:ext cx="524812" cy="546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>
            <a:extLst>
              <a:ext uri="{FF2B5EF4-FFF2-40B4-BE49-F238E27FC236}">
                <a16:creationId xmlns:a16="http://schemas.microsoft.com/office/drawing/2014/main" id="{9172E8A8-341E-72F7-B5FC-0DB29B757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1657" y="4660959"/>
            <a:ext cx="750309" cy="416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F04B42F6-4D0E-F762-6F61-1934B81AB8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8964" y="5195353"/>
            <a:ext cx="957946" cy="409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Logo adherent SEML ROUTE DES LASERS">
            <a:extLst>
              <a:ext uri="{FF2B5EF4-FFF2-40B4-BE49-F238E27FC236}">
                <a16:creationId xmlns:a16="http://schemas.microsoft.com/office/drawing/2014/main" id="{E49F0951-D2AF-C366-E156-53D0E72E6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09041" y="5145469"/>
            <a:ext cx="392925" cy="482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Société Tour Eiffel">
            <a:extLst>
              <a:ext uri="{FF2B5EF4-FFF2-40B4-BE49-F238E27FC236}">
                <a16:creationId xmlns:a16="http://schemas.microsoft.com/office/drawing/2014/main" id="{83536BDB-BAF2-80DE-EEDB-717D480F36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450" y="5650371"/>
            <a:ext cx="828108" cy="35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Avis de Esset Property Management | Lisez les avis marchands ...">
            <a:extLst>
              <a:ext uri="{FF2B5EF4-FFF2-40B4-BE49-F238E27FC236}">
                <a16:creationId xmlns:a16="http://schemas.microsoft.com/office/drawing/2014/main" id="{61E07A0B-C4C2-89BF-2BEB-5A7881341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9263" y="3146039"/>
            <a:ext cx="651032" cy="55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idi 2i | LinkedIn">
            <a:extLst>
              <a:ext uri="{FF2B5EF4-FFF2-40B4-BE49-F238E27FC236}">
                <a16:creationId xmlns:a16="http://schemas.microsoft.com/office/drawing/2014/main" id="{1053BF48-0767-A1EF-D43D-40E4EC1CD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6708" y="4589100"/>
            <a:ext cx="431270" cy="41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E7010C0A-DC88-F6F8-AFE3-C5D801298537}"/>
              </a:ext>
            </a:extLst>
          </p:cNvPr>
          <p:cNvSpPr txBox="1">
            <a:spLocks/>
          </p:cNvSpPr>
          <p:nvPr/>
        </p:nvSpPr>
        <p:spPr>
          <a:xfrm>
            <a:off x="547735" y="1157043"/>
            <a:ext cx="3361154" cy="324715"/>
          </a:xfrm>
          <a:prstGeom prst="rect">
            <a:avLst/>
          </a:prstGeom>
        </p:spPr>
        <p:txBody>
          <a:bodyPr/>
          <a:lstStyle>
            <a:lvl1pPr marL="12599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599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COTISATIONS au </a:t>
            </a:r>
            <a:r>
              <a:rPr lang="fr-FR" b="1" dirty="0">
                <a:solidFill>
                  <a:srgbClr val="5D5755"/>
                </a:solidFill>
              </a:rPr>
              <a:t>16</a:t>
            </a: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/04/2026</a:t>
            </a:r>
          </a:p>
        </p:txBody>
      </p:sp>
      <p:pic>
        <p:nvPicPr>
          <p:cNvPr id="13" name="Picture 2" descr="ESTIA I Développement Immobilier Responsable">
            <a:extLst>
              <a:ext uri="{FF2B5EF4-FFF2-40B4-BE49-F238E27FC236}">
                <a16:creationId xmlns:a16="http://schemas.microsoft.com/office/drawing/2014/main" id="{3A89E503-8C04-987A-0F1D-3F201764A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4095" y="3163867"/>
            <a:ext cx="471380" cy="469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Promoteur Immobilier Neuf - Maison - Appartement | Kaufman &amp; Broad">
            <a:extLst>
              <a:ext uri="{FF2B5EF4-FFF2-40B4-BE49-F238E27FC236}">
                <a16:creationId xmlns:a16="http://schemas.microsoft.com/office/drawing/2014/main" id="{977187E7-C4FB-F18A-65C8-56E05D3623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7644" y="4240995"/>
            <a:ext cx="940843" cy="23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0" descr="NEXITY | FPI France">
            <a:extLst>
              <a:ext uri="{FF2B5EF4-FFF2-40B4-BE49-F238E27FC236}">
                <a16:creationId xmlns:a16="http://schemas.microsoft.com/office/drawing/2014/main" id="{50DDA708-E9D3-C5A6-96F5-AA20022D3B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233" b="30088"/>
          <a:stretch>
            <a:fillRect/>
          </a:stretch>
        </p:blipFill>
        <p:spPr bwMode="auto">
          <a:xfrm>
            <a:off x="3854815" y="4712010"/>
            <a:ext cx="947030" cy="295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8FA9B18F-8576-A604-B727-5A838A2AD17D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0839" y="5128668"/>
            <a:ext cx="460284" cy="460284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00EB0BEB-4630-19F6-CC19-C00168561C3B}"/>
              </a:ext>
            </a:extLst>
          </p:cNvPr>
          <p:cNvPicPr>
            <a:picLocks noChangeAspect="1"/>
          </p:cNvPicPr>
          <p:nvPr/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3816" y="3093679"/>
            <a:ext cx="649116" cy="636220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0064CA9B-4DA2-138A-40ED-72AADA75DDEF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1769" y="4104615"/>
            <a:ext cx="558016" cy="503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9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2" name="Picture 14" descr="Gleeds France SAS Paris - Économistes de la construction ...">
            <a:extLst>
              <a:ext uri="{FF2B5EF4-FFF2-40B4-BE49-F238E27FC236}">
                <a16:creationId xmlns:a16="http://schemas.microsoft.com/office/drawing/2014/main" id="{D83FE9BF-6475-741B-BF86-48AEF8F11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09033" y="4549247"/>
            <a:ext cx="796910" cy="43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1219A09-7173-9AAD-7B21-8FD17FA5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embres BBCA 2026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F500EE9-E29C-D5D2-0959-7353AC3E191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>
            <a:normAutofit lnSpcReduction="10000"/>
          </a:bodyPr>
          <a:lstStyle/>
          <a:p>
            <a:r>
              <a:rPr lang="fr-FR" dirty="0"/>
              <a:t>ARCHITECTES (33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E651675-6BC1-6972-85C6-D52A877485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>
            <a:normAutofit lnSpcReduction="10000"/>
          </a:bodyPr>
          <a:lstStyle/>
          <a:p>
            <a:r>
              <a:rPr lang="fr-FR" dirty="0"/>
              <a:t>ING</a:t>
            </a:r>
            <a:r>
              <a:rPr lang="fr-FR" sz="1200" dirty="0">
                <a:latin typeface="Helvetica Neue"/>
              </a:rPr>
              <a:t>É</a:t>
            </a:r>
            <a:r>
              <a:rPr lang="fr-FR" dirty="0"/>
              <a:t>NI</a:t>
            </a:r>
            <a:r>
              <a:rPr lang="fr-FR" sz="1200" dirty="0">
                <a:latin typeface="Helvetica Neue"/>
              </a:rPr>
              <a:t>E</a:t>
            </a:r>
            <a:r>
              <a:rPr lang="fr-FR" dirty="0"/>
              <a:t>RIE (52)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2900485-2AC3-3EA9-1C1A-0704BB5AE18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PETIT-DEJEUNER PRESSE 16/04</a:t>
            </a: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17D3149-50F1-89AB-DC34-3819F22DEC4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81681-318F-F34D-BC07-1902CF377D87}" type="slidenum">
              <a:rPr kumimoji="0" lang="fr-FR" sz="1199" b="0" i="0" u="none" strike="noStrike" kern="1200" cap="none" spc="0" normalizeH="0" baseline="0" noProof="0" smtClean="0">
                <a:ln>
                  <a:noFill/>
                </a:ln>
                <a:solidFill>
                  <a:srgbClr val="A89590"/>
                </a:solidFill>
                <a:effectLst/>
                <a:uLnTx/>
                <a:uFillTx/>
                <a:latin typeface="Helvetica Neue" panose="02000503000000020004" pitchFamily="2" charset="0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199" b="0" i="0" u="none" strike="noStrike" kern="1200" cap="none" spc="0" normalizeH="0" baseline="0" noProof="0">
              <a:ln>
                <a:noFill/>
              </a:ln>
              <a:solidFill>
                <a:srgbClr val="A89590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pic>
        <p:nvPicPr>
          <p:cNvPr id="7" name="Image 6" descr="CONTACT | Agence 2br">
            <a:extLst>
              <a:ext uri="{FF2B5EF4-FFF2-40B4-BE49-F238E27FC236}">
                <a16:creationId xmlns:a16="http://schemas.microsoft.com/office/drawing/2014/main" id="{D30E92A8-F669-8A3B-4841-9E3DD1B09B3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1617" y="2304316"/>
            <a:ext cx="471156" cy="47115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 descr="ARCHIBUILD - Partenaires - BATI'life">
            <a:extLst>
              <a:ext uri="{FF2B5EF4-FFF2-40B4-BE49-F238E27FC236}">
                <a16:creationId xmlns:a16="http://schemas.microsoft.com/office/drawing/2014/main" id="{324FC552-30E6-EAB8-D669-A00A25A5B3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2468" y="2236066"/>
            <a:ext cx="593760" cy="593760"/>
          </a:xfrm>
          <a:prstGeom prst="rect">
            <a:avLst/>
          </a:prstGeom>
        </p:spPr>
      </p:pic>
      <p:pic>
        <p:nvPicPr>
          <p:cNvPr id="11" name="Image 10" descr="SCOP Atelier 15 – SCOP Atelier 15 est une coopérative d ...">
            <a:extLst>
              <a:ext uri="{FF2B5EF4-FFF2-40B4-BE49-F238E27FC236}">
                <a16:creationId xmlns:a16="http://schemas.microsoft.com/office/drawing/2014/main" id="{0BC196B0-7F63-EC42-F240-1A8F1BDCCA4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7263" y="2359801"/>
            <a:ext cx="767741" cy="360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Une image contenant Police, typographie, Graphique, noir&#10;&#10;Description générée automatiquement">
            <a:extLst>
              <a:ext uri="{FF2B5EF4-FFF2-40B4-BE49-F238E27FC236}">
                <a16:creationId xmlns:a16="http://schemas.microsoft.com/office/drawing/2014/main" id="{45FE4766-D5B7-6402-7DDD-272D8916D82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3" y="2367350"/>
            <a:ext cx="1130677" cy="300680"/>
          </a:xfrm>
          <a:prstGeom prst="rect">
            <a:avLst/>
          </a:prstGeom>
        </p:spPr>
      </p:pic>
      <p:pic>
        <p:nvPicPr>
          <p:cNvPr id="1028" name="Picture 4" descr="Architecture Pélegrin - François Pélegrin - Recherche et développement">
            <a:extLst>
              <a:ext uri="{FF2B5EF4-FFF2-40B4-BE49-F238E27FC236}">
                <a16:creationId xmlns:a16="http://schemas.microsoft.com/office/drawing/2014/main" id="{FB0E0656-8176-1DF8-CEAB-9ED7E6C2A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6237" y="3003983"/>
            <a:ext cx="1912891" cy="37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telier Téqui Architectes | LinkedIn">
            <a:extLst>
              <a:ext uri="{FF2B5EF4-FFF2-40B4-BE49-F238E27FC236}">
                <a16:creationId xmlns:a16="http://schemas.microsoft.com/office/drawing/2014/main" id="{76D2E078-7753-826C-1DC7-0AB04B01BF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942" t="34047" r="6329" b="37435"/>
          <a:stretch/>
        </p:blipFill>
        <p:spPr bwMode="auto">
          <a:xfrm>
            <a:off x="3403534" y="2828056"/>
            <a:ext cx="1575997" cy="543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3FC0AA3A-3E29-4EA8-1C64-ABC73B530D4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26" b="12197"/>
          <a:stretch/>
        </p:blipFill>
        <p:spPr bwMode="auto">
          <a:xfrm>
            <a:off x="464584" y="3483906"/>
            <a:ext cx="909634" cy="66577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Image 13" descr="CoBe Architecture et Paysage | LinkedIn">
            <a:extLst>
              <a:ext uri="{FF2B5EF4-FFF2-40B4-BE49-F238E27FC236}">
                <a16:creationId xmlns:a16="http://schemas.microsoft.com/office/drawing/2014/main" id="{DF34E31C-14E5-20F5-A0C6-F0498D75427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8715" y="3520048"/>
            <a:ext cx="952500" cy="465269"/>
          </a:xfrm>
          <a:prstGeom prst="rect">
            <a:avLst/>
          </a:prstGeom>
        </p:spPr>
      </p:pic>
      <p:pic>
        <p:nvPicPr>
          <p:cNvPr id="15" name="Image 14" descr="Frask Architectes">
            <a:extLst>
              <a:ext uri="{FF2B5EF4-FFF2-40B4-BE49-F238E27FC236}">
                <a16:creationId xmlns:a16="http://schemas.microsoft.com/office/drawing/2014/main" id="{65CAA984-39D9-1B32-0674-EEB1F5785E5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694" y="4266994"/>
            <a:ext cx="1160472" cy="3349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2" name="Picture 8" descr="contact et recrutement – duthilleul">
            <a:extLst>
              <a:ext uri="{FF2B5EF4-FFF2-40B4-BE49-F238E27FC236}">
                <a16:creationId xmlns:a16="http://schemas.microsoft.com/office/drawing/2014/main" id="{48C18BE5-49BA-C162-E1F9-8FEDB2886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4192" y="2266270"/>
            <a:ext cx="1449145" cy="563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FRESH architectures | LinkedIn">
            <a:extLst>
              <a:ext uri="{FF2B5EF4-FFF2-40B4-BE49-F238E27FC236}">
                <a16:creationId xmlns:a16="http://schemas.microsoft.com/office/drawing/2014/main" id="{5438F144-8127-06FD-0AC7-C15F0BEF25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56217" y="4204266"/>
            <a:ext cx="1447000" cy="498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 descr="Accueil - Hobo">
            <a:extLst>
              <a:ext uri="{FF2B5EF4-FFF2-40B4-BE49-F238E27FC236}">
                <a16:creationId xmlns:a16="http://schemas.microsoft.com/office/drawing/2014/main" id="{82DA3473-A49B-F485-F6C7-F03C7653D51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6341" y="4086690"/>
            <a:ext cx="1134863" cy="3606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F23BC7F8-3BDD-B4FA-9E93-73214FE5F3F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857" y="4664888"/>
            <a:ext cx="1236999" cy="457581"/>
          </a:xfrm>
          <a:prstGeom prst="rect">
            <a:avLst/>
          </a:prstGeom>
        </p:spPr>
      </p:pic>
      <p:pic>
        <p:nvPicPr>
          <p:cNvPr id="20" name="Image 19" descr="Accueil - Nicolas Laisné Architectes">
            <a:extLst>
              <a:ext uri="{FF2B5EF4-FFF2-40B4-BE49-F238E27FC236}">
                <a16:creationId xmlns:a16="http://schemas.microsoft.com/office/drawing/2014/main" id="{928F5248-5038-63E8-C799-9D9AC166D570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7535" y="4554719"/>
            <a:ext cx="852936" cy="5119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Image 20" descr="Logo de Kardham Groupe">
            <a:extLst>
              <a:ext uri="{FF2B5EF4-FFF2-40B4-BE49-F238E27FC236}">
                <a16:creationId xmlns:a16="http://schemas.microsoft.com/office/drawing/2014/main" id="{457E0056-F1C9-EBEC-96D4-00898EF12E74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851" y="4685581"/>
            <a:ext cx="485412" cy="388910"/>
          </a:xfrm>
          <a:prstGeom prst="rect">
            <a:avLst/>
          </a:prstGeom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A2A04B5E-1218-1275-B8DF-2D7AB8475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715" y="5206719"/>
            <a:ext cx="1232789" cy="36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Image 22" descr="Quadri Fiore Architecture - Women Equity Palmarès National 2020">
            <a:extLst>
              <a:ext uri="{FF2B5EF4-FFF2-40B4-BE49-F238E27FC236}">
                <a16:creationId xmlns:a16="http://schemas.microsoft.com/office/drawing/2014/main" id="{6112316C-7A12-0683-F5FF-0B80461CF660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88619" y="5140727"/>
            <a:ext cx="1184595" cy="58503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8FFE2A34-0EC7-65D8-A18C-A176CDD8DAF6}"/>
              </a:ext>
            </a:extLst>
          </p:cNvPr>
          <p:cNvSpPr txBox="1"/>
          <p:nvPr/>
        </p:nvSpPr>
        <p:spPr>
          <a:xfrm>
            <a:off x="324837" y="5129217"/>
            <a:ext cx="1031621" cy="43682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Nikolajevi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Murisas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Franklin Gothic Book" panose="020B0503020102020204"/>
              <a:ea typeface="Calibri"/>
              <a:cs typeface="Calibri"/>
            </a:endParaRPr>
          </a:p>
        </p:txBody>
      </p:sp>
      <p:pic>
        <p:nvPicPr>
          <p:cNvPr id="25" name="Image 24" descr="Accueil">
            <a:extLst>
              <a:ext uri="{FF2B5EF4-FFF2-40B4-BE49-F238E27FC236}">
                <a16:creationId xmlns:a16="http://schemas.microsoft.com/office/drawing/2014/main" id="{97253CEA-AD70-B92B-7393-C9DD53ECCC90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2734" y="5229330"/>
            <a:ext cx="1540077" cy="3367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STUDIOS Architecture | LinkedIn">
            <a:extLst>
              <a:ext uri="{FF2B5EF4-FFF2-40B4-BE49-F238E27FC236}">
                <a16:creationId xmlns:a16="http://schemas.microsoft.com/office/drawing/2014/main" id="{AB5FDF30-4D86-F2A4-EC3B-25129A6C1C03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65785" y="5787141"/>
            <a:ext cx="1514373" cy="35761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Image 9" descr="Valode-Pistre-logo | Baudet">
            <a:extLst>
              <a:ext uri="{FF2B5EF4-FFF2-40B4-BE49-F238E27FC236}">
                <a16:creationId xmlns:a16="http://schemas.microsoft.com/office/drawing/2014/main" id="{E9B53D70-D347-E866-9CF5-FC227FD7A73F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84192" y="5838802"/>
            <a:ext cx="1536263" cy="34580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Image 25" descr="Une image contenant texte, cercle, Police, symbole&#10;&#10;Le contenu généré par l’IA peut être incorrect.">
            <a:extLst>
              <a:ext uri="{FF2B5EF4-FFF2-40B4-BE49-F238E27FC236}">
                <a16:creationId xmlns:a16="http://schemas.microsoft.com/office/drawing/2014/main" id="{3180659D-61F3-7804-998B-A472D0E5D900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716" y="5608344"/>
            <a:ext cx="648609" cy="634094"/>
          </a:xfrm>
          <a:prstGeom prst="rect">
            <a:avLst/>
          </a:prstGeom>
        </p:spPr>
      </p:pic>
      <p:pic>
        <p:nvPicPr>
          <p:cNvPr id="27" name="Image 26" descr="Accueil - VIGUIER">
            <a:extLst>
              <a:ext uri="{FF2B5EF4-FFF2-40B4-BE49-F238E27FC236}">
                <a16:creationId xmlns:a16="http://schemas.microsoft.com/office/drawing/2014/main" id="{42F4C2DF-3B55-74A4-A1BA-4C5FDC486A43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3263" y="5738602"/>
            <a:ext cx="1055309" cy="523726"/>
          </a:xfrm>
          <a:prstGeom prst="rect">
            <a:avLst/>
          </a:prstGeom>
        </p:spPr>
      </p:pic>
      <p:pic>
        <p:nvPicPr>
          <p:cNvPr id="28" name="Image 27" descr="Ingérop renforce son engagement en faveur de l'environnement en créant  Actierra, sa filiale dédiée à l'écologie - Ingérop">
            <a:extLst>
              <a:ext uri="{FF2B5EF4-FFF2-40B4-BE49-F238E27FC236}">
                <a16:creationId xmlns:a16="http://schemas.microsoft.com/office/drawing/2014/main" id="{BC4707D0-030F-113A-C521-D3B32DFCEA3F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8291" y="2139339"/>
            <a:ext cx="1539724" cy="690487"/>
          </a:xfrm>
          <a:prstGeom prst="rect">
            <a:avLst/>
          </a:prstGeom>
        </p:spPr>
      </p:pic>
      <p:pic>
        <p:nvPicPr>
          <p:cNvPr id="29" name="Image 28" descr="A red and white logo&#10;&#10;Description automatically generated">
            <a:extLst>
              <a:ext uri="{FF2B5EF4-FFF2-40B4-BE49-F238E27FC236}">
                <a16:creationId xmlns:a16="http://schemas.microsoft.com/office/drawing/2014/main" id="{95D3581C-4195-6D98-3EA4-3A8DD88E901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0240" y="2278089"/>
            <a:ext cx="489671" cy="441898"/>
          </a:xfrm>
          <a:prstGeom prst="rect">
            <a:avLst/>
          </a:prstGeom>
        </p:spPr>
      </p:pic>
      <p:pic>
        <p:nvPicPr>
          <p:cNvPr id="30" name="Image 29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933BC85F-9723-F9A7-C887-2B41C88141E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9762" y="2308538"/>
            <a:ext cx="1057275" cy="381000"/>
          </a:xfrm>
          <a:prstGeom prst="rect">
            <a:avLst/>
          </a:prstGeom>
        </p:spPr>
      </p:pic>
      <p:pic>
        <p:nvPicPr>
          <p:cNvPr id="31" name="Image 30" descr="AREP-logo - Fer-play">
            <a:extLst>
              <a:ext uri="{FF2B5EF4-FFF2-40B4-BE49-F238E27FC236}">
                <a16:creationId xmlns:a16="http://schemas.microsoft.com/office/drawing/2014/main" id="{0DD70DDD-6126-F115-C073-3C067889B56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0419" y="2921311"/>
            <a:ext cx="895350" cy="314325"/>
          </a:xfrm>
          <a:prstGeom prst="rect">
            <a:avLst/>
          </a:prstGeom>
        </p:spPr>
      </p:pic>
      <p:pic>
        <p:nvPicPr>
          <p:cNvPr id="32" name="Image 31" descr="logo-Arp-Astrance-600x6001 (1) - AURA">
            <a:extLst>
              <a:ext uri="{FF2B5EF4-FFF2-40B4-BE49-F238E27FC236}">
                <a16:creationId xmlns:a16="http://schemas.microsoft.com/office/drawing/2014/main" id="{6055387D-E2C5-96FF-7CB0-2F88BDDF16DE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03880" y="2803767"/>
            <a:ext cx="1330424" cy="54941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3" name="Picture 1" descr="A black and yellow text&#10;&#10;Description automatically generated">
            <a:extLst>
              <a:ext uri="{FF2B5EF4-FFF2-40B4-BE49-F238E27FC236}">
                <a16:creationId xmlns:a16="http://schemas.microsoft.com/office/drawing/2014/main" id="{ABF5E920-9B93-6A2B-DAF7-357C59295F6D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3606" y="2122698"/>
            <a:ext cx="1231680" cy="789984"/>
          </a:xfrm>
          <a:prstGeom prst="rect">
            <a:avLst/>
          </a:prstGeom>
        </p:spPr>
      </p:pic>
      <p:pic>
        <p:nvPicPr>
          <p:cNvPr id="34" name="Picture 2" descr="DGM &amp; Associés | LinkedIn">
            <a:extLst>
              <a:ext uri="{FF2B5EF4-FFF2-40B4-BE49-F238E27FC236}">
                <a16:creationId xmlns:a16="http://schemas.microsoft.com/office/drawing/2014/main" id="{A88A1B1E-FFD4-206B-C644-85748689AA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79717" y="3493115"/>
            <a:ext cx="1256101" cy="613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Image 34" descr="Amoès - l'énergie positive">
            <a:extLst>
              <a:ext uri="{FF2B5EF4-FFF2-40B4-BE49-F238E27FC236}">
                <a16:creationId xmlns:a16="http://schemas.microsoft.com/office/drawing/2014/main" id="{AAEFABCE-1622-FFAE-B26A-7BA1AE3E76ED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72136" y="2290014"/>
            <a:ext cx="1167626" cy="4831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6" name="Image 35" descr="Artelia">
            <a:extLst>
              <a:ext uri="{FF2B5EF4-FFF2-40B4-BE49-F238E27FC236}">
                <a16:creationId xmlns:a16="http://schemas.microsoft.com/office/drawing/2014/main" id="{5B0BD542-2B9F-9EA2-88CC-49498804FB0B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6230" y="2924190"/>
            <a:ext cx="1063515" cy="348482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Image 36" descr="Une image contenant Police, texte, Graphique, blanc">
            <a:extLst>
              <a:ext uri="{FF2B5EF4-FFF2-40B4-BE49-F238E27FC236}">
                <a16:creationId xmlns:a16="http://schemas.microsoft.com/office/drawing/2014/main" id="{D79FD0D8-DD05-6C55-1A5C-1B561D6A4813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293" y="2809520"/>
            <a:ext cx="567129" cy="569450"/>
          </a:xfrm>
          <a:prstGeom prst="rect">
            <a:avLst/>
          </a:prstGeom>
        </p:spPr>
      </p:pic>
      <p:pic>
        <p:nvPicPr>
          <p:cNvPr id="39" name="Image 38" descr="Une image contenant Police, Graphique, logo, typographie&#10;&#10;Le contenu généré par l’IA peut être incorrect.">
            <a:extLst>
              <a:ext uri="{FF2B5EF4-FFF2-40B4-BE49-F238E27FC236}">
                <a16:creationId xmlns:a16="http://schemas.microsoft.com/office/drawing/2014/main" id="{DA50F555-4596-B310-F5E7-04C7F90AEEB5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8546" y="2937187"/>
            <a:ext cx="884375" cy="304957"/>
          </a:xfrm>
          <a:prstGeom prst="rect">
            <a:avLst/>
          </a:prstGeom>
        </p:spPr>
      </p:pic>
      <p:pic>
        <p:nvPicPr>
          <p:cNvPr id="44" name="Image 43" descr="Une image contenant logo, Police, Graphique, texte&#10;&#10;Le contenu généré par l’IA peut être incorrect.">
            <a:extLst>
              <a:ext uri="{FF2B5EF4-FFF2-40B4-BE49-F238E27FC236}">
                <a16:creationId xmlns:a16="http://schemas.microsoft.com/office/drawing/2014/main" id="{2B859179-3CE5-9DF8-3AFB-1E084C2E85B3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1452" y="3443535"/>
            <a:ext cx="1190417" cy="380189"/>
          </a:xfrm>
          <a:prstGeom prst="rect">
            <a:avLst/>
          </a:prstGeom>
        </p:spPr>
      </p:pic>
      <p:pic>
        <p:nvPicPr>
          <p:cNvPr id="45" name="Image 44" descr="ETC Building &amp; Design, Inc. | LinkedIn">
            <a:extLst>
              <a:ext uri="{FF2B5EF4-FFF2-40B4-BE49-F238E27FC236}">
                <a16:creationId xmlns:a16="http://schemas.microsoft.com/office/drawing/2014/main" id="{CA7F3ED1-50AB-DB95-3335-95E8A3BFA891}"/>
              </a:ext>
            </a:extLst>
          </p:cNvPr>
          <p:cNvPicPr>
            <a:picLocks noChangeAspect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81096" y="3441739"/>
            <a:ext cx="624175" cy="4509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6" name="Image 45" descr="Pôle ALPHA-RLH">
            <a:extLst>
              <a:ext uri="{FF2B5EF4-FFF2-40B4-BE49-F238E27FC236}">
                <a16:creationId xmlns:a16="http://schemas.microsoft.com/office/drawing/2014/main" id="{CDD49E70-A5E8-2011-6BD2-36FBD276DD01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8809" y="3464713"/>
            <a:ext cx="1056453" cy="360341"/>
          </a:xfrm>
          <a:prstGeom prst="rect">
            <a:avLst/>
          </a:prstGeom>
        </p:spPr>
      </p:pic>
      <p:pic>
        <p:nvPicPr>
          <p:cNvPr id="47" name="Picture 8">
            <a:extLst>
              <a:ext uri="{FF2B5EF4-FFF2-40B4-BE49-F238E27FC236}">
                <a16:creationId xmlns:a16="http://schemas.microsoft.com/office/drawing/2014/main" id="{A82A1A84-D353-CB33-6359-699F35B53B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9454" y="3929660"/>
            <a:ext cx="1149549" cy="281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Image 47" descr="ELAN | Biomim'expo">
            <a:extLst>
              <a:ext uri="{FF2B5EF4-FFF2-40B4-BE49-F238E27FC236}">
                <a16:creationId xmlns:a16="http://schemas.microsoft.com/office/drawing/2014/main" id="{5C2D348C-790A-627C-05D1-689C9E633D63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22"/>
          <a:stretch/>
        </p:blipFill>
        <p:spPr bwMode="auto">
          <a:xfrm>
            <a:off x="8680967" y="3909121"/>
            <a:ext cx="485851" cy="572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Image 48" descr="EODD en bref | EODD | Ingénieurs Conseils">
            <a:extLst>
              <a:ext uri="{FF2B5EF4-FFF2-40B4-BE49-F238E27FC236}">
                <a16:creationId xmlns:a16="http://schemas.microsoft.com/office/drawing/2014/main" id="{30FD983E-9B72-72CA-A056-C212B436C673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2739" y="3954684"/>
            <a:ext cx="1203280" cy="3326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Picture 34" descr="A close-up of a logo&#10;&#10;Description automatically generated">
            <a:extLst>
              <a:ext uri="{FF2B5EF4-FFF2-40B4-BE49-F238E27FC236}">
                <a16:creationId xmlns:a16="http://schemas.microsoft.com/office/drawing/2014/main" id="{37D4BE0A-AD1D-18E5-9645-D0447205E70D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6159" y="3778448"/>
            <a:ext cx="674478" cy="628518"/>
          </a:xfrm>
          <a:prstGeom prst="rect">
            <a:avLst/>
          </a:prstGeom>
        </p:spPr>
      </p:pic>
      <p:pic>
        <p:nvPicPr>
          <p:cNvPr id="51" name="Image 50" descr="Gaïabati — Resilience Territoire">
            <a:extLst>
              <a:ext uri="{FF2B5EF4-FFF2-40B4-BE49-F238E27FC236}">
                <a16:creationId xmlns:a16="http://schemas.microsoft.com/office/drawing/2014/main" id="{31437C70-1168-C0B5-0214-2E56A3C26B35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9085" y="3949385"/>
            <a:ext cx="758717" cy="45758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Image 51" descr="Photo">
            <a:extLst>
              <a:ext uri="{FF2B5EF4-FFF2-40B4-BE49-F238E27FC236}">
                <a16:creationId xmlns:a16="http://schemas.microsoft.com/office/drawing/2014/main" id="{4FF68EC9-49C3-C57A-2428-CA1A985DC885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0739" y="4555911"/>
            <a:ext cx="438090" cy="449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Image 52" descr="Burgeap | BURGEAP membre du Groupe GINGER">
            <a:extLst>
              <a:ext uri="{FF2B5EF4-FFF2-40B4-BE49-F238E27FC236}">
                <a16:creationId xmlns:a16="http://schemas.microsoft.com/office/drawing/2014/main" id="{F254460E-5B13-6DE0-F4F4-E9699D4063FA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3313" y="4554719"/>
            <a:ext cx="1198784" cy="377346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36" descr="A green circle with white text&#10;&#10;Description automatically generated">
            <a:extLst>
              <a:ext uri="{FF2B5EF4-FFF2-40B4-BE49-F238E27FC236}">
                <a16:creationId xmlns:a16="http://schemas.microsoft.com/office/drawing/2014/main" id="{179FCF6B-AC96-646A-B853-328A75D22B1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544" y="4496514"/>
            <a:ext cx="446887" cy="453445"/>
          </a:xfrm>
          <a:prstGeom prst="rect">
            <a:avLst/>
          </a:prstGeom>
        </p:spPr>
      </p:pic>
      <p:pic>
        <p:nvPicPr>
          <p:cNvPr id="55" name="Picture 8" descr="G-ON : photos, vidéos, recrutement">
            <a:extLst>
              <a:ext uri="{FF2B5EF4-FFF2-40B4-BE49-F238E27FC236}">
                <a16:creationId xmlns:a16="http://schemas.microsoft.com/office/drawing/2014/main" id="{C5898E78-2174-DAC5-7CE1-50C6CDF87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56691" y="4519949"/>
            <a:ext cx="485659" cy="4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Image 55" descr="INGÉROP | Groupe ingénierie technique : bureau d'étude, innovation, MOE, MOA">
            <a:extLst>
              <a:ext uri="{FF2B5EF4-FFF2-40B4-BE49-F238E27FC236}">
                <a16:creationId xmlns:a16="http://schemas.microsoft.com/office/drawing/2014/main" id="{871EED33-DAFF-3734-04B4-16653684C1A9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1746" y="4546062"/>
            <a:ext cx="1313622" cy="4334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Image 56" descr="Accueil - Kerexpert">
            <a:extLst>
              <a:ext uri="{FF2B5EF4-FFF2-40B4-BE49-F238E27FC236}">
                <a16:creationId xmlns:a16="http://schemas.microsoft.com/office/drawing/2014/main" id="{29AF3081-610B-6BEF-965E-7B610C49DCDD}"/>
              </a:ext>
            </a:extLst>
          </p:cNvPr>
          <p:cNvPicPr>
            <a:picLocks noChangeAspect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7860" y="5213826"/>
            <a:ext cx="1229895" cy="378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Image 57" descr="Accueil - MILIEU STUDIO">
            <a:extLst>
              <a:ext uri="{FF2B5EF4-FFF2-40B4-BE49-F238E27FC236}">
                <a16:creationId xmlns:a16="http://schemas.microsoft.com/office/drawing/2014/main" id="{0F8BDE58-89D7-40EE-4928-771F6CF0B882}"/>
              </a:ext>
            </a:extLst>
          </p:cNvPr>
          <p:cNvPicPr>
            <a:picLocks noChangeAspect="1"/>
          </p:cNvPicPr>
          <p:nvPr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5393" y="5140941"/>
            <a:ext cx="1137609" cy="318177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Picture 6" descr="NG Concept - Avis certifiés | ESG - ChooseMyCompany">
            <a:extLst>
              <a:ext uri="{FF2B5EF4-FFF2-40B4-BE49-F238E27FC236}">
                <a16:creationId xmlns:a16="http://schemas.microsoft.com/office/drawing/2014/main" id="{3B47B29E-0530-A657-0EC8-1AC9A3EB79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26795" y="5103824"/>
            <a:ext cx="1052830" cy="410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9" descr="A logo with black and blue circles&#10;&#10;Description automatically generated">
            <a:extLst>
              <a:ext uri="{FF2B5EF4-FFF2-40B4-BE49-F238E27FC236}">
                <a16:creationId xmlns:a16="http://schemas.microsoft.com/office/drawing/2014/main" id="{C1F9A03C-0773-E198-DB4A-CB841CDED933}"/>
              </a:ext>
            </a:extLst>
          </p:cNvPr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0064" y="5706692"/>
            <a:ext cx="917529" cy="420373"/>
          </a:xfrm>
          <a:prstGeom prst="rect">
            <a:avLst/>
          </a:prstGeom>
        </p:spPr>
      </p:pic>
      <p:pic>
        <p:nvPicPr>
          <p:cNvPr id="61" name="Image 60" descr="Introduction à l'Analyse de cycle de vie et la RE 2020 avec Tekla  Structures et One Click LCA">
            <a:extLst>
              <a:ext uri="{FF2B5EF4-FFF2-40B4-BE49-F238E27FC236}">
                <a16:creationId xmlns:a16="http://schemas.microsoft.com/office/drawing/2014/main" id="{8DD23631-6244-11BC-1634-9C97893424E3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4529" y="5725757"/>
            <a:ext cx="760534" cy="427857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Image 61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EA579DE5-F2B6-E718-ED26-53C2D96B5AFF}"/>
              </a:ext>
            </a:extLst>
          </p:cNvPr>
          <p:cNvPicPr>
            <a:picLocks noChangeAspect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726" y="5660308"/>
            <a:ext cx="1122605" cy="510785"/>
          </a:xfrm>
          <a:prstGeom prst="rect">
            <a:avLst/>
          </a:prstGeom>
        </p:spPr>
      </p:pic>
      <p:pic>
        <p:nvPicPr>
          <p:cNvPr id="40" name="Image 39" descr="Une image contenant texte, Police, capture d’écran, conception&#10;&#10;Le contenu généré par l’IA peut être incorrect.">
            <a:extLst>
              <a:ext uri="{FF2B5EF4-FFF2-40B4-BE49-F238E27FC236}">
                <a16:creationId xmlns:a16="http://schemas.microsoft.com/office/drawing/2014/main" id="{717A13C2-4025-24B4-AD1B-2157D713D978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857" y="2862267"/>
            <a:ext cx="622744" cy="622744"/>
          </a:xfrm>
          <a:prstGeom prst="rect">
            <a:avLst/>
          </a:prstGeom>
        </p:spPr>
      </p:pic>
      <p:pic>
        <p:nvPicPr>
          <p:cNvPr id="2050" name="Picture 2" descr="Covalence architectes, architecte | BAM">
            <a:extLst>
              <a:ext uri="{FF2B5EF4-FFF2-40B4-BE49-F238E27FC236}">
                <a16:creationId xmlns:a16="http://schemas.microsoft.com/office/drawing/2014/main" id="{ED016C00-6E70-7787-BB89-69E0DEA69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0768" y="3458752"/>
            <a:ext cx="1058157" cy="659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JURIC-TARDIO ARCHITECTURE &amp; PATRIMOINE | LinkedIn">
            <a:extLst>
              <a:ext uri="{FF2B5EF4-FFF2-40B4-BE49-F238E27FC236}">
                <a16:creationId xmlns:a16="http://schemas.microsoft.com/office/drawing/2014/main" id="{C5D72C05-BFE6-A55E-2951-68E432A1F6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3423" y="2865362"/>
            <a:ext cx="543262" cy="543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EGA - Erik Giudice Architects | LinkedIn">
            <a:extLst>
              <a:ext uri="{FF2B5EF4-FFF2-40B4-BE49-F238E27FC236}">
                <a16:creationId xmlns:a16="http://schemas.microsoft.com/office/drawing/2014/main" id="{3A951DDB-F820-B3A5-1A54-42A2DD2E5A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936" y="4196340"/>
            <a:ext cx="823522" cy="39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Image 42" descr="Une image contenant texte, Police, blanc, Graphique&#10;&#10;Le contenu généré par l’IA peut être incorrect.">
            <a:extLst>
              <a:ext uri="{FF2B5EF4-FFF2-40B4-BE49-F238E27FC236}">
                <a16:creationId xmlns:a16="http://schemas.microsoft.com/office/drawing/2014/main" id="{72063315-C995-7F7E-2547-726D98DDF88F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36135" y="3611008"/>
            <a:ext cx="1199828" cy="261058"/>
          </a:xfrm>
          <a:prstGeom prst="rect">
            <a:avLst/>
          </a:prstGeom>
        </p:spPr>
      </p:pic>
      <p:pic>
        <p:nvPicPr>
          <p:cNvPr id="2056" name="Picture 8" descr="philippe MONJARET - monjaret architecture sas | LinkedIn">
            <a:extLst>
              <a:ext uri="{FF2B5EF4-FFF2-40B4-BE49-F238E27FC236}">
                <a16:creationId xmlns:a16="http://schemas.microsoft.com/office/drawing/2014/main" id="{86671356-747E-F671-E3D1-9A4EF93DC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4073" y="4773441"/>
            <a:ext cx="1058157" cy="264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" name="Image 1023" descr="Une image contenant Police, logo, texte, Graphique&#10;&#10;Le contenu généré par l’IA peut être incorrect.">
            <a:extLst>
              <a:ext uri="{FF2B5EF4-FFF2-40B4-BE49-F238E27FC236}">
                <a16:creationId xmlns:a16="http://schemas.microsoft.com/office/drawing/2014/main" id="{9DA496CD-3DB7-C118-70A2-2E341B634A16}"/>
              </a:ext>
            </a:extLst>
          </p:cNvPr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9014" y="3414841"/>
            <a:ext cx="1072543" cy="253351"/>
          </a:xfrm>
          <a:prstGeom prst="rect">
            <a:avLst/>
          </a:prstGeom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11A53936-FB3C-FCBB-65A4-6CFBC2EDC3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5116" y="3436366"/>
            <a:ext cx="939564" cy="34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EGREEN | Améliorer la performance énergétique des bâtiments">
            <a:extLst>
              <a:ext uri="{FF2B5EF4-FFF2-40B4-BE49-F238E27FC236}">
                <a16:creationId xmlns:a16="http://schemas.microsoft.com/office/drawing/2014/main" id="{FEF7CE7B-6055-2575-382B-CB49B059F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0739" y="3843741"/>
            <a:ext cx="396604" cy="56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KHEPHREN Ingénierie | LinkedIn">
            <a:extLst>
              <a:ext uri="{FF2B5EF4-FFF2-40B4-BE49-F238E27FC236}">
                <a16:creationId xmlns:a16="http://schemas.microsoft.com/office/drawing/2014/main" id="{C61B7E07-5A1B-76B3-10DC-EAD4D48BDA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5802" y="5070347"/>
            <a:ext cx="812589" cy="537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N'CO Conseil : photos, vidéos, recrutement">
            <a:extLst>
              <a:ext uri="{FF2B5EF4-FFF2-40B4-BE49-F238E27FC236}">
                <a16:creationId xmlns:a16="http://schemas.microsoft.com/office/drawing/2014/main" id="{D1626D6A-A2EF-BDAD-CD04-F5AC163C33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79" t="20770" r="12974" b="21525"/>
          <a:stretch>
            <a:fillRect/>
          </a:stretch>
        </p:blipFill>
        <p:spPr bwMode="auto">
          <a:xfrm>
            <a:off x="10877196" y="5078470"/>
            <a:ext cx="582405" cy="46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PAYET | LinkedIn">
            <a:extLst>
              <a:ext uri="{FF2B5EF4-FFF2-40B4-BE49-F238E27FC236}">
                <a16:creationId xmlns:a16="http://schemas.microsoft.com/office/drawing/2014/main" id="{19C5C515-3C0C-5348-9AD5-8CA12AAA9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9745" y="5718837"/>
            <a:ext cx="376673" cy="376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Prisme Ingénierie, société d'ingénierie de la construction à ...">
            <a:extLst>
              <a:ext uri="{FF2B5EF4-FFF2-40B4-BE49-F238E27FC236}">
                <a16:creationId xmlns:a16="http://schemas.microsoft.com/office/drawing/2014/main" id="{BC66D472-D072-B161-7067-46255B940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84858" y="5681863"/>
            <a:ext cx="468352" cy="44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 descr="S2T - L'Ingénierie qui conçoit en HUBprojet">
            <a:extLst>
              <a:ext uri="{FF2B5EF4-FFF2-40B4-BE49-F238E27FC236}">
                <a16:creationId xmlns:a16="http://schemas.microsoft.com/office/drawing/2014/main" id="{1C75FA39-D8CE-857F-9A5E-D385F85148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1587" y="5729588"/>
            <a:ext cx="334524" cy="434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GROUPE FRANC ARCHITECTURES | LinkedIn">
            <a:extLst>
              <a:ext uri="{FF2B5EF4-FFF2-40B4-BE49-F238E27FC236}">
                <a16:creationId xmlns:a16="http://schemas.microsoft.com/office/drawing/2014/main" id="{CEA6596B-66BF-9C57-8D10-75DBBC5B5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9264" y="4106608"/>
            <a:ext cx="633726" cy="633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MHAARCHITECTES – Cabinet d'architectes">
            <a:extLst>
              <a:ext uri="{FF2B5EF4-FFF2-40B4-BE49-F238E27FC236}">
                <a16:creationId xmlns:a16="http://schemas.microsoft.com/office/drawing/2014/main" id="{1B4D6F54-8EE6-DFDB-505A-2C9806580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4755" y="4745719"/>
            <a:ext cx="850725" cy="324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Image 1030">
            <a:extLst>
              <a:ext uri="{FF2B5EF4-FFF2-40B4-BE49-F238E27FC236}">
                <a16:creationId xmlns:a16="http://schemas.microsoft.com/office/drawing/2014/main" id="{666EE413-84AC-F675-595A-47F66199A58F}"/>
              </a:ext>
            </a:extLst>
          </p:cNvPr>
          <p:cNvPicPr>
            <a:picLocks noChangeAspect="1"/>
          </p:cNvPicPr>
          <p:nvPr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7860" y="3290222"/>
            <a:ext cx="509434" cy="509434"/>
          </a:xfrm>
          <a:prstGeom prst="rect">
            <a:avLst/>
          </a:prstGeom>
        </p:spPr>
      </p:pic>
      <p:pic>
        <p:nvPicPr>
          <p:cNvPr id="1036" name="Image 1035">
            <a:extLst>
              <a:ext uri="{FF2B5EF4-FFF2-40B4-BE49-F238E27FC236}">
                <a16:creationId xmlns:a16="http://schemas.microsoft.com/office/drawing/2014/main" id="{D6E421A7-3944-C5C7-334A-A657E5554238}"/>
              </a:ext>
            </a:extLst>
          </p:cNvPr>
          <p:cNvPicPr>
            <a:picLocks noChangeAspect="1"/>
          </p:cNvPicPr>
          <p:nvPr/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134" y="2792736"/>
            <a:ext cx="609812" cy="60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5D8507-38A3-68D8-D82B-49CD4B272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embres BBCA 2026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A5B8CC8-64AC-C76D-B194-72B2FDC79DA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197309" y="1889514"/>
            <a:ext cx="2613026" cy="181375"/>
          </a:xfrm>
        </p:spPr>
        <p:txBody>
          <a:bodyPr>
            <a:normAutofit lnSpcReduction="10000"/>
          </a:bodyPr>
          <a:lstStyle/>
          <a:p>
            <a:r>
              <a:rPr lang="fr-FR" dirty="0"/>
              <a:t>INDUSTRIELS (3)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ACD921C-5D4F-89C0-D26E-618B76BD65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PETIT-DEJEUNER PRESSE 16/04</a:t>
            </a: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E91791E-178C-68BC-B7E0-7F21A26E42B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81681-318F-F34D-BC07-1902CF377D87}" type="slidenum">
              <a:rPr kumimoji="0" lang="fr-FR" sz="1199" b="0" i="0" u="none" strike="noStrike" kern="1200" cap="none" spc="0" normalizeH="0" baseline="0" noProof="0" smtClean="0">
                <a:ln>
                  <a:noFill/>
                </a:ln>
                <a:solidFill>
                  <a:srgbClr val="A89590"/>
                </a:solidFill>
                <a:effectLst/>
                <a:uLnTx/>
                <a:uFillTx/>
                <a:latin typeface="Helvetica Neue" panose="02000503000000020004" pitchFamily="2" charset="0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199" b="0" i="0" u="none" strike="noStrike" kern="1200" cap="none" spc="0" normalizeH="0" baseline="0" noProof="0">
              <a:ln>
                <a:noFill/>
              </a:ln>
              <a:solidFill>
                <a:srgbClr val="A89590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02EA99-1DE3-E0FC-FFA7-523E8C10AF49}"/>
              </a:ext>
            </a:extLst>
          </p:cNvPr>
          <p:cNvSpPr txBox="1">
            <a:spLocks/>
          </p:cNvSpPr>
          <p:nvPr/>
        </p:nvSpPr>
        <p:spPr>
          <a:xfrm>
            <a:off x="546346" y="3869557"/>
            <a:ext cx="2613026" cy="18137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2600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CONSTRUCTEURS (12)</a:t>
            </a:r>
          </a:p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endParaRPr kumimoji="0" lang="fr-FR" sz="1199" b="1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pic>
        <p:nvPicPr>
          <p:cNvPr id="14" name="Image 13" descr="AUX CHARPENTIERS DE FRANCE">
            <a:extLst>
              <a:ext uri="{FF2B5EF4-FFF2-40B4-BE49-F238E27FC236}">
                <a16:creationId xmlns:a16="http://schemas.microsoft.com/office/drawing/2014/main" id="{3B94E3DC-E3CE-CB22-225D-8A95BE67A6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440" y="4345302"/>
            <a:ext cx="897929" cy="401705"/>
          </a:xfrm>
          <a:prstGeom prst="rect">
            <a:avLst/>
          </a:prstGeom>
        </p:spPr>
      </p:pic>
      <p:pic>
        <p:nvPicPr>
          <p:cNvPr id="15" name="Picture 33" descr="A black and green logo&#10;&#10;Description automatically generated">
            <a:extLst>
              <a:ext uri="{FF2B5EF4-FFF2-40B4-BE49-F238E27FC236}">
                <a16:creationId xmlns:a16="http://schemas.microsoft.com/office/drawing/2014/main" id="{23F861D8-4814-AAC0-8C5C-443A25B2400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038" y="4238957"/>
            <a:ext cx="1186454" cy="667114"/>
          </a:xfrm>
          <a:prstGeom prst="rect">
            <a:avLst/>
          </a:prstGeom>
        </p:spPr>
      </p:pic>
      <p:pic>
        <p:nvPicPr>
          <p:cNvPr id="16" name="Image 15" descr="Eiffage Construction — Wikipédia">
            <a:extLst>
              <a:ext uri="{FF2B5EF4-FFF2-40B4-BE49-F238E27FC236}">
                <a16:creationId xmlns:a16="http://schemas.microsoft.com/office/drawing/2014/main" id="{272FE571-807F-07DD-C756-49235F35945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9403" y="4375175"/>
            <a:ext cx="1267928" cy="3852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Image 16" descr="Mathis - Muttersholtz">
            <a:extLst>
              <a:ext uri="{FF2B5EF4-FFF2-40B4-BE49-F238E27FC236}">
                <a16:creationId xmlns:a16="http://schemas.microsoft.com/office/drawing/2014/main" id="{D489DE03-FABB-0EA3-E537-EBF0BB24D0C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5017" y="4959477"/>
            <a:ext cx="932498" cy="402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025B049-825C-EDD3-708F-4E9E495A07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0265" y="5617749"/>
            <a:ext cx="1107239" cy="4014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18" descr="logo-vinci-construction-france | Baudet">
            <a:extLst>
              <a:ext uri="{FF2B5EF4-FFF2-40B4-BE49-F238E27FC236}">
                <a16:creationId xmlns:a16="http://schemas.microsoft.com/office/drawing/2014/main" id="{C0180898-C751-4334-13D3-594561458C4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7838" y="5487111"/>
            <a:ext cx="1481107" cy="570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19" descr="GCC - Club ETI - Ile de france">
            <a:extLst>
              <a:ext uri="{FF2B5EF4-FFF2-40B4-BE49-F238E27FC236}">
                <a16:creationId xmlns:a16="http://schemas.microsoft.com/office/drawing/2014/main" id="{C9A785FD-038D-9FC2-D16D-214F029C593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9854" r="8978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9015" y="4906071"/>
            <a:ext cx="1414781" cy="4837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FA71EA9C-0FC7-ABD1-1ED5-A8DC0201753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7838" y="5019828"/>
            <a:ext cx="1345017" cy="237356"/>
          </a:xfrm>
          <a:prstGeom prst="rect">
            <a:avLst/>
          </a:prstGeom>
        </p:spPr>
      </p:pic>
      <p:pic>
        <p:nvPicPr>
          <p:cNvPr id="23" name="Picture 14" descr="Spie Batignolles — Wikipédia">
            <a:extLst>
              <a:ext uri="{FF2B5EF4-FFF2-40B4-BE49-F238E27FC236}">
                <a16:creationId xmlns:a16="http://schemas.microsoft.com/office/drawing/2014/main" id="{A8CF3FE3-5920-3656-A81D-D5890AB76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5581" y="5564797"/>
            <a:ext cx="1029309" cy="460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 25" descr="Accenta - Décarbonez vos bâtiments ...">
            <a:extLst>
              <a:ext uri="{FF2B5EF4-FFF2-40B4-BE49-F238E27FC236}">
                <a16:creationId xmlns:a16="http://schemas.microsoft.com/office/drawing/2014/main" id="{E070958E-4E03-F3F7-9D96-B55F23D43EF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50" t="25818" r="22835" b="31390"/>
          <a:stretch/>
        </p:blipFill>
        <p:spPr>
          <a:xfrm>
            <a:off x="6136158" y="3817199"/>
            <a:ext cx="1402145" cy="557976"/>
          </a:xfrm>
          <a:prstGeom prst="rect">
            <a:avLst/>
          </a:prstGeom>
        </p:spPr>
      </p:pic>
      <p:pic>
        <p:nvPicPr>
          <p:cNvPr id="28" name="Image 27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2B1975B6-6678-2A43-A7ED-E9686BB13E3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73761" y="3978272"/>
            <a:ext cx="891186" cy="453410"/>
          </a:xfrm>
          <a:prstGeom prst="rect">
            <a:avLst/>
          </a:prstGeom>
        </p:spPr>
      </p:pic>
      <p:pic>
        <p:nvPicPr>
          <p:cNvPr id="30" name="Image 29" descr="Une image contenant texte, Police, conception&#10;&#10;Description générée automatiquement">
            <a:extLst>
              <a:ext uri="{FF2B5EF4-FFF2-40B4-BE49-F238E27FC236}">
                <a16:creationId xmlns:a16="http://schemas.microsoft.com/office/drawing/2014/main" id="{1B2BA01C-A750-7A3B-9A64-EE7D7D8487AF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6514" y="3962024"/>
            <a:ext cx="795188" cy="400110"/>
          </a:xfrm>
          <a:prstGeom prst="rect">
            <a:avLst/>
          </a:prstGeom>
        </p:spPr>
      </p:pic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ABD564E5-4A00-BFF9-E606-52C5CF65049D}"/>
              </a:ext>
            </a:extLst>
          </p:cNvPr>
          <p:cNvSpPr txBox="1">
            <a:spLocks/>
          </p:cNvSpPr>
          <p:nvPr/>
        </p:nvSpPr>
        <p:spPr>
          <a:xfrm>
            <a:off x="556292" y="1881072"/>
            <a:ext cx="2613026" cy="18137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2600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ING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/>
              </a:rPr>
              <a:t>É</a:t>
            </a: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NI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/>
              </a:rPr>
              <a:t>E</a:t>
            </a: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RIE </a:t>
            </a:r>
          </a:p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endParaRPr kumimoji="0" lang="fr-FR" sz="1199" b="1" i="0" u="none" strike="noStrike" kern="1200" cap="none" spc="0" normalizeH="0" baseline="0" noProof="0" dirty="0">
              <a:ln>
                <a:noFill/>
              </a:ln>
              <a:solidFill>
                <a:srgbClr val="5D5755"/>
              </a:solidFill>
              <a:effectLst/>
              <a:uLnTx/>
              <a:uFillTx/>
              <a:latin typeface="Helvetica Neue" panose="02000503000000020004" pitchFamily="2" charset="0"/>
            </a:endParaRPr>
          </a:p>
        </p:txBody>
      </p:sp>
      <p:pic>
        <p:nvPicPr>
          <p:cNvPr id="39" name="Image 6" descr="Sevaia">
            <a:extLst>
              <a:ext uri="{FF2B5EF4-FFF2-40B4-BE49-F238E27FC236}">
                <a16:creationId xmlns:a16="http://schemas.microsoft.com/office/drawing/2014/main" id="{B70893E0-1922-6E9A-C171-AC88D3FE733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850" y="2215501"/>
            <a:ext cx="465987" cy="479693"/>
          </a:xfrm>
          <a:prstGeom prst="rect">
            <a:avLst/>
          </a:prstGeom>
        </p:spPr>
      </p:pic>
      <p:pic>
        <p:nvPicPr>
          <p:cNvPr id="40" name="Image 7" descr="SINTEO agit pour un immobilier et une ville post-carbone - Cycle Up">
            <a:extLst>
              <a:ext uri="{FF2B5EF4-FFF2-40B4-BE49-F238E27FC236}">
                <a16:creationId xmlns:a16="http://schemas.microsoft.com/office/drawing/2014/main" id="{397E62F1-9D6A-BF69-E5D1-848A3EEB62AE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299" y="2261057"/>
            <a:ext cx="1009986" cy="388579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Image 8">
            <a:extLst>
              <a:ext uri="{FF2B5EF4-FFF2-40B4-BE49-F238E27FC236}">
                <a16:creationId xmlns:a16="http://schemas.microsoft.com/office/drawing/2014/main" id="{B3472A6E-74F6-B68E-DD94-CFD2337C00E1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0424" y="2288345"/>
            <a:ext cx="1363916" cy="2500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Image 9" descr="Terrell Group — Wikipédia">
            <a:extLst>
              <a:ext uri="{FF2B5EF4-FFF2-40B4-BE49-F238E27FC236}">
                <a16:creationId xmlns:a16="http://schemas.microsoft.com/office/drawing/2014/main" id="{973FF9C1-7EEF-1895-544F-7BE7DB06690D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129"/>
          <a:stretch/>
        </p:blipFill>
        <p:spPr bwMode="auto">
          <a:xfrm>
            <a:off x="4363275" y="2717783"/>
            <a:ext cx="875628" cy="46329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3" name="Image 11" descr="Une image contenant Police, Graphique, graphisme, logo&#10;&#10;Le contenu généré par l’IA peut être incorrect.">
            <a:extLst>
              <a:ext uri="{FF2B5EF4-FFF2-40B4-BE49-F238E27FC236}">
                <a16:creationId xmlns:a16="http://schemas.microsoft.com/office/drawing/2014/main" id="{DFB61FEC-B5B4-0EDA-EF42-2EEEBDF44308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4666" y="2693833"/>
            <a:ext cx="473029" cy="404440"/>
          </a:xfrm>
          <a:prstGeom prst="rect">
            <a:avLst/>
          </a:prstGeom>
        </p:spPr>
      </p:pic>
      <p:pic>
        <p:nvPicPr>
          <p:cNvPr id="44" name="Picture 2">
            <a:extLst>
              <a:ext uri="{FF2B5EF4-FFF2-40B4-BE49-F238E27FC236}">
                <a16:creationId xmlns:a16="http://schemas.microsoft.com/office/drawing/2014/main" id="{EA93C98D-A9F7-5647-0564-14F84CEDC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182" y="2664986"/>
            <a:ext cx="1009987" cy="561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 descr="Une image contenant texte, sapin, arbre, épicéa&#10;&#10;Le contenu généré par l’IA peut être incorrect.">
            <a:extLst>
              <a:ext uri="{FF2B5EF4-FFF2-40B4-BE49-F238E27FC236}">
                <a16:creationId xmlns:a16="http://schemas.microsoft.com/office/drawing/2014/main" id="{7A401E6E-7738-CE41-1A72-62771EAF9416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7306" y="2030225"/>
            <a:ext cx="493679" cy="664969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9136E8B2-1D43-6C91-DB88-10C56858A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0880" y="1949366"/>
            <a:ext cx="734223" cy="734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éférences TERAO - Bureau d'Études Environnementales ATIXIS">
            <a:extLst>
              <a:ext uri="{FF2B5EF4-FFF2-40B4-BE49-F238E27FC236}">
                <a16:creationId xmlns:a16="http://schemas.microsoft.com/office/drawing/2014/main" id="{5A862D40-8F08-7308-8FCD-B973411AF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87055" y="2607329"/>
            <a:ext cx="1270847" cy="697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Une image contenant Graphique, Police, noir, logo&#10;&#10;Le contenu généré par l’IA peut être incorrect.">
            <a:extLst>
              <a:ext uri="{FF2B5EF4-FFF2-40B4-BE49-F238E27FC236}">
                <a16:creationId xmlns:a16="http://schemas.microsoft.com/office/drawing/2014/main" id="{605D1C38-B1DD-998E-E802-46012BA37768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98" y="3215438"/>
            <a:ext cx="465987" cy="236642"/>
          </a:xfrm>
          <a:prstGeom prst="rect">
            <a:avLst/>
          </a:prstGeom>
        </p:spPr>
      </p:pic>
      <p:pic>
        <p:nvPicPr>
          <p:cNvPr id="24" name="Image 23" descr="Une image contenant Police, Graphique, texte, graphisme&#10;&#10;Le contenu généré par l’IA peut être incorrect.">
            <a:extLst>
              <a:ext uri="{FF2B5EF4-FFF2-40B4-BE49-F238E27FC236}">
                <a16:creationId xmlns:a16="http://schemas.microsoft.com/office/drawing/2014/main" id="{0B637D16-787D-C9D2-C07B-A15ED762546C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66" y="3217786"/>
            <a:ext cx="1580252" cy="242305"/>
          </a:xfrm>
          <a:prstGeom prst="rect">
            <a:avLst/>
          </a:prstGeom>
        </p:spPr>
      </p:pic>
      <p:pic>
        <p:nvPicPr>
          <p:cNvPr id="34" name="Image 33" descr="Une image contenant Police, logo, Graphique, texte&#10;&#10;Le contenu généré par l’IA peut être incorrect.">
            <a:extLst>
              <a:ext uri="{FF2B5EF4-FFF2-40B4-BE49-F238E27FC236}">
                <a16:creationId xmlns:a16="http://schemas.microsoft.com/office/drawing/2014/main" id="{4EA97222-FA1F-F74C-A25A-8EEC2EE8E09C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7058" y="4921674"/>
            <a:ext cx="1186454" cy="460120"/>
          </a:xfrm>
          <a:prstGeom prst="rect">
            <a:avLst/>
          </a:prstGeom>
        </p:spPr>
      </p:pic>
      <p:pic>
        <p:nvPicPr>
          <p:cNvPr id="45" name="Image 44" descr="Une image contenant Police, texte, Graphique, graphisme&#10;&#10;Le contenu généré par l’IA peut être incorrect.">
            <a:extLst>
              <a:ext uri="{FF2B5EF4-FFF2-40B4-BE49-F238E27FC236}">
                <a16:creationId xmlns:a16="http://schemas.microsoft.com/office/drawing/2014/main" id="{E072526E-28A0-9467-234B-E30397E57D14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715" y="4358879"/>
            <a:ext cx="1809627" cy="497076"/>
          </a:xfrm>
          <a:prstGeom prst="rect">
            <a:avLst/>
          </a:prstGeom>
        </p:spPr>
      </p:pic>
      <p:pic>
        <p:nvPicPr>
          <p:cNvPr id="3080" name="Picture 8" descr="SETP | LinkedIn">
            <a:extLst>
              <a:ext uri="{FF2B5EF4-FFF2-40B4-BE49-F238E27FC236}">
                <a16:creationId xmlns:a16="http://schemas.microsoft.com/office/drawing/2014/main" id="{D0333864-E473-F89F-48D4-32A6802DA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346" y="5548923"/>
            <a:ext cx="645223" cy="64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A1FAA8F-C115-DECC-12C5-A9B4B14CE4BC}"/>
              </a:ext>
            </a:extLst>
          </p:cNvPr>
          <p:cNvSpPr txBox="1">
            <a:spLocks/>
          </p:cNvSpPr>
          <p:nvPr/>
        </p:nvSpPr>
        <p:spPr>
          <a:xfrm>
            <a:off x="6231790" y="3735932"/>
            <a:ext cx="2613026" cy="18137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2600" indent="0" algn="l" defTabSz="719875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Police système Courant"/>
              <a:buNone/>
              <a:defRPr sz="1199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74282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99941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57063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114186" indent="-215963" algn="l" defTabSz="719875" rtl="0" eaLnBrk="1" latinLnBrk="0" hangingPunct="1">
              <a:lnSpc>
                <a:spcPct val="100000"/>
              </a:lnSpc>
              <a:spcBef>
                <a:spcPts val="499"/>
              </a:spcBef>
              <a:buClr>
                <a:schemeClr val="tx2"/>
              </a:buClr>
              <a:buSzPct val="110000"/>
              <a:buFont typeface="Police système Courant"/>
              <a:buChar char="●"/>
              <a:defRPr sz="1199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16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4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7" indent="-228562" algn="l" defTabSz="914242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00" marR="0" lvl="0" indent="0" algn="l" defTabSz="71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5C11F"/>
              </a:buClr>
              <a:buSzPct val="110000"/>
              <a:buFont typeface="Police système Courant"/>
              <a:buNone/>
              <a:tabLst/>
              <a:defRPr/>
            </a:pPr>
            <a:r>
              <a:rPr kumimoji="0" lang="fr-FR" sz="1199" b="1" i="0" u="none" strike="noStrike" kern="1200" cap="none" spc="0" normalizeH="0" baseline="0" noProof="0" dirty="0">
                <a:ln>
                  <a:noFill/>
                </a:ln>
                <a:solidFill>
                  <a:srgbClr val="5D5755"/>
                </a:solidFill>
                <a:effectLst/>
                <a:uLnTx/>
                <a:uFillTx/>
                <a:latin typeface="Helvetica Neue" panose="02000503000000020004" pitchFamily="2" charset="0"/>
              </a:rPr>
              <a:t>ET AUSSI (7)</a:t>
            </a:r>
          </a:p>
        </p:txBody>
      </p:sp>
      <p:pic>
        <p:nvPicPr>
          <p:cNvPr id="3082" name="Picture 10" descr="OUEST ALU - Concevoir, fabriquer, poser et entretenir des ...">
            <a:extLst>
              <a:ext uri="{FF2B5EF4-FFF2-40B4-BE49-F238E27FC236}">
                <a16:creationId xmlns:a16="http://schemas.microsoft.com/office/drawing/2014/main" id="{7C8F52D5-AD2E-5B4D-AF87-376CD26A4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1790" y="2156968"/>
            <a:ext cx="697311" cy="697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Image 47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22903406-9C5C-FBAC-322E-62F59767EE95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2791" y="2116691"/>
            <a:ext cx="984481" cy="656321"/>
          </a:xfrm>
          <a:prstGeom prst="rect">
            <a:avLst/>
          </a:prstGeom>
        </p:spPr>
      </p:pic>
      <p:pic>
        <p:nvPicPr>
          <p:cNvPr id="50" name="Image 49" descr="Une image contenant fleur, jaune&#10;&#10;Le contenu généré par l’IA peut être incorrect.">
            <a:extLst>
              <a:ext uri="{FF2B5EF4-FFF2-40B4-BE49-F238E27FC236}">
                <a16:creationId xmlns:a16="http://schemas.microsoft.com/office/drawing/2014/main" id="{57CF35A4-4B00-716E-0237-D6ED01CC1B5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559" y="1971759"/>
            <a:ext cx="853776" cy="784407"/>
          </a:xfrm>
          <a:prstGeom prst="rect">
            <a:avLst/>
          </a:prstGeom>
        </p:spPr>
      </p:pic>
      <p:pic>
        <p:nvPicPr>
          <p:cNvPr id="52" name="Image 51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8197EF66-1014-BD52-955F-52AAFE72A75E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0335" y="2062447"/>
            <a:ext cx="1389225" cy="571840"/>
          </a:xfrm>
          <a:prstGeom prst="rect">
            <a:avLst/>
          </a:prstGeom>
        </p:spPr>
      </p:pic>
      <p:pic>
        <p:nvPicPr>
          <p:cNvPr id="3084" name="Picture 12" descr="Promouvoir son engagement avec FSC | Forest Stewardship Council">
            <a:extLst>
              <a:ext uri="{FF2B5EF4-FFF2-40B4-BE49-F238E27FC236}">
                <a16:creationId xmlns:a16="http://schemas.microsoft.com/office/drawing/2014/main" id="{EF058A87-0B7E-F350-C51B-2EABD1E93F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0327" y="3861111"/>
            <a:ext cx="608430" cy="72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Image 53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0E1AC1BB-8D38-4A25-7858-6FF2364A302D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1617" y="3861111"/>
            <a:ext cx="645223" cy="795349"/>
          </a:xfrm>
          <a:prstGeom prst="rect">
            <a:avLst/>
          </a:prstGeom>
        </p:spPr>
      </p:pic>
      <p:pic>
        <p:nvPicPr>
          <p:cNvPr id="56" name="Image 55" descr="Une image contenant Police, Graphique, logo, symbole&#10;&#10;Le contenu généré par l’IA peut être incorrect.">
            <a:extLst>
              <a:ext uri="{FF2B5EF4-FFF2-40B4-BE49-F238E27FC236}">
                <a16:creationId xmlns:a16="http://schemas.microsoft.com/office/drawing/2014/main" id="{BCC636FD-353E-AA5F-D81D-DAB56631762C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2751" y="3902536"/>
            <a:ext cx="971803" cy="557091"/>
          </a:xfrm>
          <a:prstGeom prst="rect">
            <a:avLst/>
          </a:prstGeom>
        </p:spPr>
      </p:pic>
      <p:pic>
        <p:nvPicPr>
          <p:cNvPr id="3086" name="Picture 14" descr="Sylva Conseil Recrute !">
            <a:extLst>
              <a:ext uri="{FF2B5EF4-FFF2-40B4-BE49-F238E27FC236}">
                <a16:creationId xmlns:a16="http://schemas.microsoft.com/office/drawing/2014/main" id="{5A1BEDFF-C32C-A913-4E9C-56D5061EE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3414" y="2615247"/>
            <a:ext cx="881704" cy="49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6737D9F-229A-B871-6A62-BEA6DE7F9861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2599" y="4352862"/>
            <a:ext cx="645223" cy="64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519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8ACA81A-1510-8154-5BA4-14754F34D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Parmi ceux qui ont choisi de s’installer dans un bâtiment BBCA </a:t>
            </a:r>
            <a:r>
              <a:rPr lang="fr-FR" sz="1200" dirty="0"/>
              <a:t>(déjà livré ou à livrer)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BCDCE66-03E5-7D92-2D6B-89C7A09331E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>
            <a:normAutofit/>
          </a:bodyPr>
          <a:lstStyle/>
          <a:p>
            <a:r>
              <a:rPr lang="fr-FR" b="1" dirty="0">
                <a:solidFill>
                  <a:schemeClr val="accent4"/>
                </a:solidFill>
              </a:rPr>
              <a:t>Sans oublier…</a:t>
            </a:r>
          </a:p>
          <a:p>
            <a:endParaRPr lang="fr-FR" b="1" dirty="0"/>
          </a:p>
          <a:p>
            <a:r>
              <a:rPr lang="fr-FR" b="1" dirty="0">
                <a:solidFill>
                  <a:schemeClr val="tx2"/>
                </a:solidFill>
              </a:rPr>
              <a:t>Les Bailleurs sociaux </a:t>
            </a:r>
          </a:p>
          <a:p>
            <a:r>
              <a:rPr lang="fr-FR" b="1" dirty="0"/>
              <a:t>Près de </a:t>
            </a:r>
            <a:r>
              <a:rPr lang="fr-FR" b="1" dirty="0">
                <a:solidFill>
                  <a:schemeClr val="tx2"/>
                </a:solidFill>
              </a:rPr>
              <a:t>500.000 m2 </a:t>
            </a:r>
            <a:r>
              <a:rPr lang="fr-FR" b="1" dirty="0"/>
              <a:t>labellisés ou en cours d’instruction.</a:t>
            </a:r>
          </a:p>
          <a:p>
            <a:endParaRPr lang="fr-FR" dirty="0"/>
          </a:p>
          <a:p>
            <a:r>
              <a:rPr lang="fr-FR" dirty="0"/>
              <a:t>Action Logement, CDC-Habitat, Elogie-</a:t>
            </a:r>
            <a:r>
              <a:rPr lang="fr-FR" dirty="0" err="1"/>
              <a:t>Siemp</a:t>
            </a:r>
            <a:r>
              <a:rPr lang="fr-FR" dirty="0"/>
              <a:t>, Paris Habitat, RIVP…</a:t>
            </a:r>
          </a:p>
          <a:p>
            <a:endParaRPr lang="fr-FR" dirty="0"/>
          </a:p>
          <a:p>
            <a:r>
              <a:rPr lang="fr-FR" b="1" dirty="0">
                <a:solidFill>
                  <a:schemeClr val="accent2"/>
                </a:solidFill>
              </a:rPr>
              <a:t>Les maîtres d’ouvrage bas carbone </a:t>
            </a:r>
          </a:p>
          <a:p>
            <a:r>
              <a:rPr lang="fr-FR" dirty="0"/>
              <a:t>Près de </a:t>
            </a:r>
            <a:r>
              <a:rPr lang="fr-FR" b="1" dirty="0">
                <a:solidFill>
                  <a:schemeClr val="accent2"/>
                </a:solidFill>
              </a:rPr>
              <a:t>2.500.000 m2 </a:t>
            </a:r>
            <a:r>
              <a:rPr lang="fr-FR" dirty="0"/>
              <a:t>labellisés ou en cours d’instruction pour le TOP 10 du Palmarès BBCA 2025</a:t>
            </a:r>
          </a:p>
          <a:p>
            <a:endParaRPr lang="fr-FR" dirty="0"/>
          </a:p>
          <a:p>
            <a:r>
              <a:rPr lang="fr-FR" dirty="0"/>
              <a:t>Groupe Nexity, WO2, Bouygues Immobilier, Groupe Icade, Groupe Altarea Cogedim, </a:t>
            </a:r>
            <a:r>
              <a:rPr lang="fr-FR" dirty="0" err="1"/>
              <a:t>Linkcity</a:t>
            </a:r>
            <a:r>
              <a:rPr lang="fr-FR" dirty="0"/>
              <a:t>, </a:t>
            </a:r>
            <a:r>
              <a:rPr lang="fr-FR" dirty="0" err="1"/>
              <a:t>Gecina,Groupe</a:t>
            </a:r>
            <a:r>
              <a:rPr lang="fr-FR" dirty="0"/>
              <a:t> BNP Paribas Real Estate, Redman…</a:t>
            </a:r>
          </a:p>
          <a:p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8328C53-92CA-818E-E9C4-D52BDC63F1B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PETIT-DEJEUNER PRESSE 16/04</a:t>
            </a: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168A3C9-284A-8B23-4955-A40E952876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6381681-318F-F34D-BC07-1902CF377D87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BFB26E43-8DFF-9332-47B0-5CB9D4C55B8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4A4CF36E-D4BB-EE19-B622-3B00884857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54" y="1591364"/>
            <a:ext cx="7497112" cy="5003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145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hème Office">
  <a:themeElements>
    <a:clrScheme name="BBCA">
      <a:dk1>
        <a:srgbClr val="5D5755"/>
      </a:dk1>
      <a:lt1>
        <a:srgbClr val="FFFFFF"/>
      </a:lt1>
      <a:dk2>
        <a:srgbClr val="95C11F"/>
      </a:dk2>
      <a:lt2>
        <a:srgbClr val="E8E8E8"/>
      </a:lt2>
      <a:accent1>
        <a:srgbClr val="008A3B"/>
      </a:accent1>
      <a:accent2>
        <a:srgbClr val="4CA092"/>
      </a:accent2>
      <a:accent3>
        <a:srgbClr val="66873B"/>
      </a:accent3>
      <a:accent4>
        <a:srgbClr val="A89590"/>
      </a:accent4>
      <a:accent5>
        <a:srgbClr val="D6773E"/>
      </a:accent5>
      <a:accent6>
        <a:srgbClr val="EAD2B3"/>
      </a:accent6>
      <a:hlink>
        <a:srgbClr val="D6773E"/>
      </a:hlink>
      <a:folHlink>
        <a:srgbClr val="AF503E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hème Office">
  <a:themeElements>
    <a:clrScheme name="BBCA">
      <a:dk1>
        <a:srgbClr val="5D5755"/>
      </a:dk1>
      <a:lt1>
        <a:srgbClr val="FFFFFF"/>
      </a:lt1>
      <a:dk2>
        <a:srgbClr val="95C11F"/>
      </a:dk2>
      <a:lt2>
        <a:srgbClr val="E8E8E8"/>
      </a:lt2>
      <a:accent1>
        <a:srgbClr val="008A3B"/>
      </a:accent1>
      <a:accent2>
        <a:srgbClr val="4CA092"/>
      </a:accent2>
      <a:accent3>
        <a:srgbClr val="66873B"/>
      </a:accent3>
      <a:accent4>
        <a:srgbClr val="A89590"/>
      </a:accent4>
      <a:accent5>
        <a:srgbClr val="D6773E"/>
      </a:accent5>
      <a:accent6>
        <a:srgbClr val="EAD2B3"/>
      </a:accent6>
      <a:hlink>
        <a:srgbClr val="D6773E"/>
      </a:hlink>
      <a:folHlink>
        <a:srgbClr val="AF503E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Nexity">
  <a:themeElements>
    <a:clrScheme name="Nexity">
      <a:dk1>
        <a:srgbClr val="000000"/>
      </a:dk1>
      <a:lt1>
        <a:sysClr val="window" lastClr="FFFFFF"/>
      </a:lt1>
      <a:dk2>
        <a:srgbClr val="FF002D"/>
      </a:dk2>
      <a:lt2>
        <a:srgbClr val="FFFFFF"/>
      </a:lt2>
      <a:accent1>
        <a:srgbClr val="1E1E3C"/>
      </a:accent1>
      <a:accent2>
        <a:srgbClr val="78874B"/>
      </a:accent2>
      <a:accent3>
        <a:srgbClr val="500523"/>
      </a:accent3>
      <a:accent4>
        <a:srgbClr val="82285F"/>
      </a:accent4>
      <a:accent5>
        <a:srgbClr val="1E1E3C"/>
      </a:accent5>
      <a:accent6>
        <a:srgbClr val="78874B"/>
      </a:accent6>
      <a:hlink>
        <a:srgbClr val="500523"/>
      </a:hlink>
      <a:folHlink>
        <a:srgbClr val="82285F"/>
      </a:folHlink>
    </a:clrScheme>
    <a:fontScheme name="Nexity">
      <a:majorFont>
        <a:latin typeface="Barlow Black"/>
        <a:ea typeface=""/>
        <a:cs typeface=""/>
      </a:majorFont>
      <a:minorFont>
        <a:latin typeface="Barlow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xity_Template PowerPoint_v4.potx" id="{A0E22951-3FEC-4E2F-9C41-E762D9CF6826}" vid="{63AEF1C8-4B43-4B14-8DB3-8D4B5E23E5F8}"/>
    </a:ext>
  </a:extLst>
</a:theme>
</file>

<file path=ppt/theme/theme4.xml><?xml version="1.0" encoding="utf-8"?>
<a:theme xmlns:a="http://schemas.openxmlformats.org/drawingml/2006/main" name="Office Theme">
  <a:themeElements>
    <a:clrScheme name="COGEDIM">
      <a:dk1>
        <a:sysClr val="windowText" lastClr="000000"/>
      </a:dk1>
      <a:lt1>
        <a:sysClr val="window" lastClr="FFFFFF"/>
      </a:lt1>
      <a:dk2>
        <a:srgbClr val="401161"/>
      </a:dk2>
      <a:lt2>
        <a:srgbClr val="899B35"/>
      </a:lt2>
      <a:accent1>
        <a:srgbClr val="DAA545"/>
      </a:accent1>
      <a:accent2>
        <a:srgbClr val="5389A1"/>
      </a:accent2>
      <a:accent3>
        <a:srgbClr val="465E3A"/>
      </a:accent3>
      <a:accent4>
        <a:srgbClr val="B599C9"/>
      </a:accent4>
      <a:accent5>
        <a:srgbClr val="B9C386"/>
      </a:accent5>
      <a:accent6>
        <a:srgbClr val="E9BD74"/>
      </a:accent6>
      <a:hlink>
        <a:srgbClr val="85BACC"/>
      </a:hlink>
      <a:folHlink>
        <a:srgbClr val="909D89"/>
      </a:folHlink>
    </a:clrScheme>
    <a:fontScheme name="COGEDIM">
      <a:majorFont>
        <a:latin typeface="Sora"/>
        <a:ea typeface=""/>
        <a:cs typeface=""/>
      </a:majorFont>
      <a:minorFont>
        <a:latin typeface="Lexe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ean Template.pptx" id="{BF744F6A-8723-40BE-87C9-52D9A14BED95}" vid="{8607712E-D2B5-4580-8CB0-FCA4B9FE6E2D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69</TotalTime>
  <Words>963</Words>
  <Application>Microsoft Macintosh PowerPoint</Application>
  <PresentationFormat>Grand écran</PresentationFormat>
  <Paragraphs>190</Paragraphs>
  <Slides>37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16</vt:i4>
      </vt:variant>
      <vt:variant>
        <vt:lpstr>Thème</vt:lpstr>
      </vt:variant>
      <vt:variant>
        <vt:i4>4</vt:i4>
      </vt:variant>
      <vt:variant>
        <vt:lpstr>Titres des diapositives</vt:lpstr>
      </vt:variant>
      <vt:variant>
        <vt:i4>37</vt:i4>
      </vt:variant>
    </vt:vector>
  </HeadingPairs>
  <TitlesOfParts>
    <vt:vector size="57" baseType="lpstr">
      <vt:lpstr>Aptos</vt:lpstr>
      <vt:lpstr>Arial</vt:lpstr>
      <vt:lpstr>Barlow</vt:lpstr>
      <vt:lpstr>Barlow Black</vt:lpstr>
      <vt:lpstr>Barlow Medium</vt:lpstr>
      <vt:lpstr>Epilogue</vt:lpstr>
      <vt:lpstr>Franklin Gothic Book</vt:lpstr>
      <vt:lpstr>Graphik Regular</vt:lpstr>
      <vt:lpstr>Helvetica Neue</vt:lpstr>
      <vt:lpstr>Helvetica Neue Condensed</vt:lpstr>
      <vt:lpstr>Lexend</vt:lpstr>
      <vt:lpstr>Lexend Medium</vt:lpstr>
      <vt:lpstr>Lexend SemiBold</vt:lpstr>
      <vt:lpstr>Montserrat</vt:lpstr>
      <vt:lpstr>Police système Courant</vt:lpstr>
      <vt:lpstr>Sora</vt:lpstr>
      <vt:lpstr>Thème Office</vt:lpstr>
      <vt:lpstr>1_Thème Office</vt:lpstr>
      <vt:lpstr>Nexity</vt:lpstr>
      <vt:lpstr>Office Theme</vt:lpstr>
      <vt:lpstr> Mot d’accueil</vt:lpstr>
      <vt:lpstr>Au programme</vt:lpstr>
      <vt:lpstr>Mot  d’accueil</vt:lpstr>
      <vt:lpstr>Repères  et chiffres clefs BBCA </vt:lpstr>
      <vt:lpstr>Repères et chiffres clefs</vt:lpstr>
      <vt:lpstr>Les membres BBCA 2026</vt:lpstr>
      <vt:lpstr>Les membres BBCA 2026</vt:lpstr>
      <vt:lpstr>Les membres BBCA 2026</vt:lpstr>
      <vt:lpstr>Parmi ceux qui ont choisi de s’installer dans un bâtiment BBCA (déjà livré ou à livrer)</vt:lpstr>
      <vt:lpstr>Bureaux CB3 Sanofi et WO2</vt:lpstr>
      <vt:lpstr>Présentation PowerPoint</vt:lpstr>
      <vt:lpstr>Présentation PowerPoint</vt:lpstr>
      <vt:lpstr>Présentation PowerPoint</vt:lpstr>
      <vt:lpstr>Campus EMEA Deloitte et Nexity</vt:lpstr>
      <vt:lpstr>Présentation PowerPoint</vt:lpstr>
      <vt:lpstr>Présentation PowerPoint</vt:lpstr>
      <vt:lpstr>Présentation PowerPoint</vt:lpstr>
      <vt:lpstr>Campus Deloitt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Résidentiel Altarea-Cogedim</vt:lpstr>
      <vt:lpstr> </vt:lpstr>
      <vt:lpstr>Présentation PowerPoint</vt:lpstr>
      <vt:lpstr>Alba – La Garenne-Colombes 92</vt:lpstr>
      <vt:lpstr> </vt:lpstr>
      <vt:lpstr> </vt:lpstr>
      <vt:lpstr> </vt:lpstr>
      <vt:lpstr>Paris Rive Gauche – Paris 13</vt:lpstr>
      <vt:lpstr>Campus des Amandiers – Biot 06</vt:lpstr>
      <vt:lpstr>Investisseur Groupama Immobilier</vt:lpstr>
      <vt:lpstr>Présentation PowerPoint</vt:lpstr>
      <vt:lpstr>Questions Réponses</vt:lpstr>
      <vt:lpstr>Malgré la crise, ils ont choisi le bas carbone.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lene Genin</dc:creator>
  <cp:lastModifiedBy>Sandrine Legrand-Diez I ARMD</cp:lastModifiedBy>
  <cp:revision>515</cp:revision>
  <cp:lastPrinted>2026-04-16T14:46:41Z</cp:lastPrinted>
  <dcterms:created xsi:type="dcterms:W3CDTF">2025-04-28T13:30:10Z</dcterms:created>
  <dcterms:modified xsi:type="dcterms:W3CDTF">2026-04-30T10:38:43Z</dcterms:modified>
</cp:coreProperties>
</file>